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1" r:id="rId4"/>
  </p:sldMasterIdLst>
  <p:notesMasterIdLst>
    <p:notesMasterId r:id="rId7"/>
  </p:notesMasterIdLst>
  <p:handoutMasterIdLst>
    <p:handoutMasterId r:id="rId8"/>
  </p:handoutMasterIdLst>
  <p:sldIdLst>
    <p:sldId id="2147480097" r:id="rId5"/>
    <p:sldId id="2147480098" r:id="rId6"/>
  </p:sldIdLst>
  <p:sldSz cx="9144000" cy="5143500" type="screen16x9"/>
  <p:notesSz cx="7023100" cy="93091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30B5302-64EA-5C9A-9547-CAD58106CADE}" name="Julianne Funk" initials="JF" userId="S::julianne.funk@mastercard.com::2cb09b4b-4ef1-41f3-8b08-20e06c7abc4d" providerId="AD"/>
  <p188:author id="{29C7A71F-4A12-67E2-52E6-25425F3D589A}" name="Adriana Blanco Maurisset" initials="AM" userId="S::adriana.blancomaurisset@mastercard.com::f4fb122b-ddc4-41f5-9e63-07053c9b26ce" providerId="AD"/>
  <p188:author id="{BA79ED27-7719-4749-9073-5D5F351D458B}" name="Michael Bouteneff [C]" initials="M[" userId="S::michael.bouteneff@mastercard.com::bf5af54a-32ab-4fb9-8546-a21b213d57db" providerId="AD"/>
  <p188:author id="{26E38429-4721-BFA4-6964-C65A0E80F894}" name="Daniel Soon" initials="" userId="S::Daniel.Soon@mastercard.com::9f62cf26-f2f5-4d3c-939d-54917ec0ee0c" providerId="AD"/>
  <p188:author id="{EB055E44-7767-02E9-0AF8-FAEBF124FF15}" name="Julianne Funk" initials="JF" userId="S::Julianne.Funk@mastercard.com::2cb09b4b-4ef1-41f3-8b08-20e06c7abc4d" providerId="AD"/>
  <p188:author id="{378E214C-97ED-E60A-6310-7C91DFB4C72A}" name="Jody Barnett" initials="JB" userId="S::jody.barnett@mastercard.com::36588ed5-f330-4c9c-93c1-76b69fb303ad" providerId="AD"/>
  <p188:author id="{288F7A5E-5AC6-9F4C-6E31-2DAFA3E44FA9}" name="Deann Donohue" initials="DD" userId="S::deann.donohue@mastercard.com::d0e0363b-94a9-40d1-bedb-8c6c9974ec20" providerId="AD"/>
  <p188:author id="{D2FF665F-2477-393A-5BEA-9A8A3E2A97FD}" name="Chapin Flynn" initials="" userId="S::Chapin.Flynn@mastercard.com::26787ce1-4b5b-4778-8dd3-5f98d0893c64" providerId="AD"/>
  <p188:author id="{15C6DE70-C42B-92BE-1477-02EDAA5D3CCF}" name="Jillian Gibney" initials="JG" userId="S::jillian.gibney@mastercard.com::3dd8f826-3b82-4c17-8154-19ffdbac10c9" providerId="AD"/>
  <p188:author id="{3505BB77-D685-3A5A-A031-92929BE24CCA}" name="Deann Donohue" initials="DD" userId="S::Deann.Donohue@mastercard.com::d0e0363b-94a9-40d1-bedb-8c6c9974ec20" providerId="AD"/>
  <p188:author id="{AAC720A7-7D7F-7CCF-B261-3BE1180EFDB8}" name="Matt Wilkinson" initials="MW" userId="S::Matt.Wilkinson@mastercard.com::095bc1c6-411f-4cda-aa62-88ba64a353a0" providerId="AD"/>
  <p188:author id="{30771EAF-39A3-E223-1796-FC84DB031885}" name="Quim Martinez" initials="QM" userId="S::quim.martinez@mastercard.com::7a74d34a-ed2e-451f-8363-bb5801ded593" providerId="AD"/>
  <p188:author id="{2384B0BA-FEF5-1A79-7DA5-E743994A3105}" name="Jennifer Larsen" initials="JL" userId="S::Jennifer.Larsen@mastercard.com::69a0ef27-c1a9-4dca-bfbc-5f17fbb01257" providerId="AD"/>
  <p188:author id="{E4A0E8C1-DCA5-ED2C-93DF-D3E91B31BA6B}" name="Jillian Gibney" initials="JG" userId="S::Jillian.Gibney@mastercard.com::3dd8f826-3b82-4c17-8154-19ffdbac10c9" providerId="AD"/>
  <p188:author id="{1280F9C2-B393-2E90-0382-FCAE93D77B5C}" name="Matt Wilkinson" initials="MW" userId="S::matt.wilkinson@mastercard.com::095bc1c6-411f-4cda-aa62-88ba64a353a0" providerId="AD"/>
  <p188:author id="{47D504D3-85E6-7E7C-4787-63D7F42ED0D2}" name="Daniel Soon" initials="DS" userId="S::daniel.soon@mastercard.com::9f62cf26-f2f5-4d3c-939d-54917ec0ee0c" providerId="AD"/>
  <p188:author id="{5660D6D5-7EF9-0216-AB1B-2DC1C3EC11E4}" name="Neha Gandhi" initials="NG" userId="S::neha.gandhi@mastercard.com::e5f2f910-c55a-4885-adcc-a29634a76e38" providerId="AD"/>
  <p188:author id="{EF16A2E3-78E8-A22D-1AF2-8859AF44C306}" name="Maximilian Barnes" initials="MB" userId="S::maximilian.barnes@mastercard.com::7bdb3911-6640-462c-ac39-d7ddf6ad1ea9" providerId="AD"/>
  <p188:author id="{DD8C73E4-4275-55CA-ABC1-5B4205BE17D4}" name="Greg Marifian" initials="GM" userId="S::Greg.Marifian@mastercard.com::4162d43c-156b-4244-88a8-45649ef6cb0a" providerId="AD"/>
  <p188:author id="{6181D3E7-1A91-5FB5-E4DF-D234199FE23A}" name="Maximilian Barnes" initials="" userId="S::Maximilian.Barnes@mastercard.com::7bdb3911-6640-462c-ac39-d7ddf6ad1ea9" providerId="AD"/>
  <p188:author id="{1E9EC1FB-0AE2-B839-07F2-55A29986069F}" name="Anand Menon" initials="AM" userId="S::anand.menon@mastercard.com::e8d0dc69-b393-4c45-a790-8531537455cb" providerId="AD"/>
  <p188:author id="{CFAE74FE-90D9-AFC7-4AE5-F267FF7A9840}" name="Neha Gandhi" initials="NG" userId="S::Neha.Gandhi@mastercard.com::e5f2f910-c55a-4885-adcc-a29634a76e3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42423"/>
    <a:srgbClr val="FF00FF"/>
    <a:srgbClr val="141413"/>
    <a:srgbClr val="030303"/>
    <a:srgbClr val="F1EFEB"/>
    <a:srgbClr val="B3B0A9"/>
    <a:srgbClr val="D3CFC8"/>
    <a:srgbClr val="F0EEEB"/>
    <a:srgbClr val="D2CFC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E3FDE45-AF77-4B5C-9715-49D594BDF05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7" d="100"/>
          <a:sy n="137" d="100"/>
        </p:scale>
        <p:origin x="258" y="14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8/10/relationships/authors" Target="authors.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ifer Larsen" userId="69a0ef27-c1a9-4dca-bfbc-5f17fbb01257" providerId="ADAL" clId="{F62AD2C4-B526-47B8-8BC9-16B0E8E4A184}"/>
    <pc:docChg chg="custSel addSld modSld">
      <pc:chgData name="Jennifer Larsen" userId="69a0ef27-c1a9-4dca-bfbc-5f17fbb01257" providerId="ADAL" clId="{F62AD2C4-B526-47B8-8BC9-16B0E8E4A184}" dt="2024-05-21T22:19:40.430" v="4" actId="5793"/>
      <pc:docMkLst>
        <pc:docMk/>
      </pc:docMkLst>
      <pc:sldChg chg="delSp modSp new mod">
        <pc:chgData name="Jennifer Larsen" userId="69a0ef27-c1a9-4dca-bfbc-5f17fbb01257" providerId="ADAL" clId="{F62AD2C4-B526-47B8-8BC9-16B0E8E4A184}" dt="2024-05-21T22:19:40.430" v="4" actId="5793"/>
        <pc:sldMkLst>
          <pc:docMk/>
          <pc:sldMk cId="214835307" sldId="2147480098"/>
        </pc:sldMkLst>
        <pc:spChg chg="del">
          <ac:chgData name="Jennifer Larsen" userId="69a0ef27-c1a9-4dca-bfbc-5f17fbb01257" providerId="ADAL" clId="{F62AD2C4-B526-47B8-8BC9-16B0E8E4A184}" dt="2024-05-21T22:19:31.759" v="2" actId="478"/>
          <ac:spMkLst>
            <pc:docMk/>
            <pc:sldMk cId="214835307" sldId="2147480098"/>
            <ac:spMk id="2" creationId="{0B867CAC-7AD6-D1F5-9DEC-431566EBB5AB}"/>
          </ac:spMkLst>
        </pc:spChg>
        <pc:spChg chg="mod">
          <ac:chgData name="Jennifer Larsen" userId="69a0ef27-c1a9-4dca-bfbc-5f17fbb01257" providerId="ADAL" clId="{F62AD2C4-B526-47B8-8BC9-16B0E8E4A184}" dt="2024-05-21T22:19:40.430" v="4" actId="5793"/>
          <ac:spMkLst>
            <pc:docMk/>
            <pc:sldMk cId="214835307" sldId="2147480098"/>
            <ac:spMk id="3" creationId="{93A02DF5-CA8D-62C9-4DD6-B674AAC09A6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Slide Number Placeholder 5"/>
          <p:cNvSpPr>
            <a:spLocks noGrp="1"/>
          </p:cNvSpPr>
          <p:nvPr>
            <p:ph type="sldNum" sz="quarter" idx="3"/>
          </p:nvPr>
        </p:nvSpPr>
        <p:spPr>
          <a:xfrm>
            <a:off x="3978132" y="8842030"/>
            <a:ext cx="3043343" cy="467071"/>
          </a:xfrm>
          <a:prstGeom prst="rect">
            <a:avLst/>
          </a:prstGeom>
        </p:spPr>
        <p:txBody>
          <a:bodyPr vert="horz" lIns="93324" tIns="46662" rIns="93324" bIns="46662" rtlCol="0" anchor="b"/>
          <a:lstStyle>
            <a:lvl1pPr algn="r">
              <a:defRPr sz="1200"/>
            </a:lvl1pPr>
          </a:lstStyle>
          <a:p>
            <a:fld id="{AB53C8EB-E3D3-454A-A062-9B9000C8907A}" type="slidenum">
              <a:rPr lang="en-US" smtClean="0">
                <a:latin typeface="Mark Offc For MC" panose="020B0504020101010102" pitchFamily="34" charset="0"/>
              </a:rPr>
              <a:t>‹#›</a:t>
            </a:fld>
            <a:endParaRPr lang="en-US">
              <a:latin typeface="Mark Offc For MC" panose="020B0504020101010102" pitchFamily="34" charset="0"/>
            </a:endParaRPr>
          </a:p>
        </p:txBody>
      </p:sp>
      <p:sp>
        <p:nvSpPr>
          <p:cNvPr id="4" name="Footer Placeholder 4"/>
          <p:cNvSpPr>
            <a:spLocks noGrp="1"/>
          </p:cNvSpPr>
          <p:nvPr>
            <p:ph type="ftr" sz="quarter" idx="2"/>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latin typeface="Mark Offc For MC" panose="020B0504020101010102" pitchFamily="34" charset="0"/>
            </a:endParaRPr>
          </a:p>
        </p:txBody>
      </p:sp>
      <p:sp>
        <p:nvSpPr>
          <p:cNvPr id="3" name="Date Placeholder 3"/>
          <p:cNvSpPr>
            <a:spLocks noGrp="1"/>
          </p:cNvSpPr>
          <p:nvPr>
            <p:ph type="dt" sz="quarter" idx="1"/>
          </p:nvPr>
        </p:nvSpPr>
        <p:spPr>
          <a:xfrm>
            <a:off x="3978132" y="0"/>
            <a:ext cx="3043343" cy="467072"/>
          </a:xfrm>
          <a:prstGeom prst="rect">
            <a:avLst/>
          </a:prstGeom>
        </p:spPr>
        <p:txBody>
          <a:bodyPr vert="horz" lIns="93324" tIns="46662" rIns="93324" bIns="46662" rtlCol="0"/>
          <a:lstStyle>
            <a:lvl1pPr algn="r">
              <a:defRPr sz="1200"/>
            </a:lvl1pPr>
          </a:lstStyle>
          <a:p>
            <a:endParaRPr lang="en-US">
              <a:latin typeface="Mark Offc For MC" panose="020B0504020101010102" pitchFamily="34" charset="0"/>
            </a:endParaRPr>
          </a:p>
        </p:txBody>
      </p:sp>
    </p:spTree>
    <p:extLst>
      <p:ext uri="{BB962C8B-B14F-4D97-AF65-F5344CB8AC3E}">
        <p14:creationId xmlns:p14="http://schemas.microsoft.com/office/powerpoint/2010/main" val="251434132"/>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atin typeface="Mark Offc For MC" panose="020B0504020101010102" pitchFamily="34" charset="0"/>
              </a:defRPr>
            </a:lvl1pPr>
          </a:lstStyle>
          <a:p>
            <a:fld id="{9D321C93-C6C5-43C9-BDBB-3B3926036F61}" type="slidenum">
              <a:rPr lang="en-US" smtClean="0"/>
              <a:pPr/>
              <a:t>‹#›</a:t>
            </a:fld>
            <a:endParaRPr lang="en-US"/>
          </a:p>
        </p:txBody>
      </p:sp>
      <p:sp>
        <p:nvSpPr>
          <p:cNvPr id="6" name="Footer Placeholder 4"/>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atin typeface="Mark Offc For MC" panose="020B0504020101010102" pitchFamily="34" charset="0"/>
              </a:defRPr>
            </a:lvl1pPr>
          </a:lstStyle>
          <a:p>
            <a:endParaRPr lang="en-US"/>
          </a:p>
        </p:txBody>
      </p:sp>
      <p:sp>
        <p:nvSpPr>
          <p:cNvPr id="3" name="Date Placeholder 3"/>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atin typeface="Mark Offc For MC" panose="020B0504020101010102" pitchFamily="34" charset="0"/>
              </a:defRPr>
            </a:lvl1pPr>
          </a:lstStyle>
          <a:p>
            <a:r>
              <a:rPr lang="en-US"/>
              <a:t>February 15, 2024</a:t>
            </a:r>
          </a:p>
        </p:txBody>
      </p:sp>
      <p:sp>
        <p:nvSpPr>
          <p:cNvPr id="2" name="Header Placeholder 2"/>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atin typeface="Mark Offc For MC" panose="020B0504020101010102" pitchFamily="34" charset="0"/>
              </a:defRPr>
            </a:lvl1pP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Tree>
    <p:extLst>
      <p:ext uri="{BB962C8B-B14F-4D97-AF65-F5344CB8AC3E}">
        <p14:creationId xmlns:p14="http://schemas.microsoft.com/office/powerpoint/2010/main" val="4147397711"/>
      </p:ext>
    </p:extLst>
  </p:cSld>
  <p:clrMap bg1="lt1" tx1="dk1" bg2="lt2" tx2="dk2" accent1="accent1" accent2="accent2" accent3="accent3" accent4="accent4" accent5="accent5" accent6="accent6" hlink="hlink" folHlink="folHlink"/>
  <p:hf hdr="0" ftr="0"/>
  <p:notesStyle>
    <a:lvl1pPr marL="0" algn="l" defTabSz="685800" rtl="0" eaLnBrk="1" latinLnBrk="0" hangingPunct="1">
      <a:defRPr sz="900" kern="1200">
        <a:solidFill>
          <a:schemeClr val="tx1"/>
        </a:solidFill>
        <a:latin typeface="Mark Offc For MC" panose="020B0504020101010102" pitchFamily="34" charset="0"/>
        <a:ea typeface="+mn-ea"/>
        <a:cs typeface="+mn-cs"/>
      </a:defRPr>
    </a:lvl1pPr>
    <a:lvl2pPr marL="228600" indent="-228600" algn="l" defTabSz="685800" rtl="0" eaLnBrk="1" latinLnBrk="0" hangingPunct="1">
      <a:buFont typeface="Mark Offc For MC" panose="020B0504020101010102" pitchFamily="34" charset="0"/>
      <a:buChar char="•"/>
      <a:defRPr sz="900" kern="1200">
        <a:solidFill>
          <a:schemeClr val="tx1"/>
        </a:solidFill>
        <a:latin typeface="Mark Offc For MC" panose="020B0504020101010102" pitchFamily="34" charset="0"/>
        <a:ea typeface="+mn-ea"/>
        <a:cs typeface="+mn-cs"/>
      </a:defRPr>
    </a:lvl2pPr>
    <a:lvl3pPr marL="406400" indent="-177800" algn="l" defTabSz="685800" rtl="0" eaLnBrk="1" latinLnBrk="0" hangingPunct="1">
      <a:buFont typeface="Mark Offc For MC" panose="020B0504020101010102" pitchFamily="34" charset="0"/>
      <a:buChar char="–"/>
      <a:defRPr sz="900" kern="1200">
        <a:solidFill>
          <a:schemeClr val="tx1"/>
        </a:solidFill>
        <a:latin typeface="Mark Offc For MC" panose="020B0504020101010102" pitchFamily="34" charset="0"/>
        <a:ea typeface="+mn-ea"/>
        <a:cs typeface="+mn-cs"/>
      </a:defRPr>
    </a:lvl3pPr>
    <a:lvl4pPr marL="577850" indent="-171450" algn="l" defTabSz="685800" rtl="0" eaLnBrk="1" latinLnBrk="0" hangingPunct="1">
      <a:buFont typeface="Mark Offc For MC" panose="020B0504020101010102" pitchFamily="34" charset="0"/>
      <a:buChar char="•"/>
      <a:defRPr sz="900" kern="1200">
        <a:solidFill>
          <a:schemeClr val="tx1"/>
        </a:solidFill>
        <a:latin typeface="Mark Offc For MC" panose="020B0504020101010102" pitchFamily="34" charset="0"/>
        <a:ea typeface="+mn-ea"/>
        <a:cs typeface="+mn-cs"/>
      </a:defRPr>
    </a:lvl4pPr>
    <a:lvl5pPr marL="800100" indent="-228600" algn="l" defTabSz="685800" rtl="0" eaLnBrk="1" latinLnBrk="0" hangingPunct="1">
      <a:buFont typeface="Mark Offc For MC" panose="020B0504020101010102" pitchFamily="34" charset="0"/>
      <a:buChar char="–"/>
      <a:defRPr sz="900" kern="1200">
        <a:solidFill>
          <a:schemeClr val="tx1"/>
        </a:solidFill>
        <a:latin typeface="Mark Offc For MC" panose="020B0504020101010102" pitchFamily="34" charset="0"/>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SlideNameDept"/>
          <p:cNvSpPr>
            <a:spLocks noGrp="1"/>
          </p:cNvSpPr>
          <p:nvPr>
            <p:ph type="body" sz="quarter" idx="11" hasCustomPrompt="1"/>
          </p:nvPr>
        </p:nvSpPr>
        <p:spPr bwMode="gray">
          <a:xfrm>
            <a:off x="164592" y="3466431"/>
            <a:ext cx="3124200" cy="170816"/>
          </a:xfrm>
        </p:spPr>
        <p:txBody>
          <a:bodyPr vert="horz" lIns="91440" tIns="0" rIns="91440" bIns="45720" rtlCol="0" anchor="t" anchorCtr="0">
            <a:spAutoFit/>
          </a:bodyPr>
          <a:lstStyle>
            <a:lvl1pPr marL="115885" indent="-115885">
              <a:buNone/>
              <a:defRPr lang="en-US" sz="900" b="0" cap="none" baseline="0" dirty="0" smtClean="0">
                <a:latin typeface="MarkForMC Nrw O" panose="020B0506020201010104" pitchFamily="34" charset="0"/>
              </a:defRPr>
            </a:lvl1pPr>
          </a:lstStyle>
          <a:p>
            <a:pPr marL="0" lvl="0" indent="0"/>
            <a:r>
              <a:rPr lang="en-US"/>
              <a:t>Click to add presenter name, department</a:t>
            </a:r>
          </a:p>
        </p:txBody>
      </p:sp>
      <p:sp>
        <p:nvSpPr>
          <p:cNvPr id="8" name="Date Placeholder 3"/>
          <p:cNvSpPr>
            <a:spLocks noGrp="1"/>
          </p:cNvSpPr>
          <p:nvPr>
            <p:ph type="dt" sz="half" idx="2"/>
          </p:nvPr>
        </p:nvSpPr>
        <p:spPr bwMode="gray">
          <a:xfrm>
            <a:off x="164592" y="3166956"/>
            <a:ext cx="3123564" cy="273844"/>
          </a:xfrm>
          <a:prstGeom prst="rect">
            <a:avLst/>
          </a:prstGeom>
        </p:spPr>
        <p:txBody>
          <a:bodyPr vert="horz" lIns="91440" tIns="45720" rIns="91440" bIns="0" rtlCol="0" anchor="b" anchorCtr="0"/>
          <a:lstStyle>
            <a:lvl1pPr>
              <a:defRPr lang="en-US" sz="900" cap="none" smtClean="0">
                <a:latin typeface="MarkForMC Nrw O" panose="020B0506020201010104" pitchFamily="34" charset="0"/>
              </a:defRPr>
            </a:lvl1pPr>
          </a:lstStyle>
          <a:p>
            <a:r>
              <a:rPr lang="en-US"/>
              <a:t>February 15, 2024</a:t>
            </a:r>
          </a:p>
        </p:txBody>
      </p:sp>
      <p:sp>
        <p:nvSpPr>
          <p:cNvPr id="25" name="Subtitle 2"/>
          <p:cNvSpPr>
            <a:spLocks noGrp="1"/>
          </p:cNvSpPr>
          <p:nvPr>
            <p:ph type="subTitle" idx="1"/>
          </p:nvPr>
        </p:nvSpPr>
        <p:spPr bwMode="gray">
          <a:xfrm>
            <a:off x="164591" y="2717911"/>
            <a:ext cx="6702552" cy="498725"/>
          </a:xfrm>
          <a:ln>
            <a:noFill/>
          </a:ln>
        </p:spPr>
        <p:txBody>
          <a:bodyPr rIns="91440"/>
          <a:lstStyle>
            <a:lvl1pPr marL="0" indent="0" algn="l">
              <a:lnSpc>
                <a:spcPct val="80000"/>
              </a:lnSpc>
              <a:buNone/>
              <a:defRPr sz="1400">
                <a:solidFill>
                  <a:schemeClr val="tx1"/>
                </a:solidFill>
                <a:latin typeface="Mark Offc For MC" panose="020B0504020101010102" pitchFamily="34" charset="0"/>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Click to edit Master subtitle style</a:t>
            </a:r>
          </a:p>
        </p:txBody>
      </p:sp>
      <p:sp>
        <p:nvSpPr>
          <p:cNvPr id="24" name="Title 1"/>
          <p:cNvSpPr>
            <a:spLocks noGrp="1"/>
          </p:cNvSpPr>
          <p:nvPr>
            <p:ph type="ctrTitle"/>
          </p:nvPr>
        </p:nvSpPr>
        <p:spPr bwMode="gray">
          <a:xfrm>
            <a:off x="164591" y="1430456"/>
            <a:ext cx="6702552" cy="1274195"/>
          </a:xfrm>
          <a:ln>
            <a:noFill/>
          </a:ln>
        </p:spPr>
        <p:txBody>
          <a:bodyPr rIns="91440" anchor="b"/>
          <a:lstStyle>
            <a:lvl1pPr algn="l">
              <a:lnSpc>
                <a:spcPct val="80000"/>
              </a:lnSpc>
              <a:defRPr sz="4800" b="0">
                <a:solidFill>
                  <a:schemeClr val="tx1"/>
                </a:solidFill>
                <a:latin typeface="Mark Offc For MC Extra Light" panose="020B0404020101010102" pitchFamily="34" charset="0"/>
              </a:defRPr>
            </a:lvl1pPr>
          </a:lstStyle>
          <a:p>
            <a:r>
              <a:rPr lang="en-US"/>
              <a:t>Click to edit Master title style</a:t>
            </a:r>
          </a:p>
        </p:txBody>
      </p:sp>
      <p:grpSp>
        <p:nvGrpSpPr>
          <p:cNvPr id="10" name="Graphic 9">
            <a:extLst>
              <a:ext uri="{FF2B5EF4-FFF2-40B4-BE49-F238E27FC236}">
                <a16:creationId xmlns:a16="http://schemas.microsoft.com/office/drawing/2014/main" id="{28569B48-3CBC-4E67-8F4C-8DE5AF659169}"/>
              </a:ext>
            </a:extLst>
          </p:cNvPr>
          <p:cNvGrpSpPr>
            <a:grpSpLocks noChangeAspect="1"/>
          </p:cNvGrpSpPr>
          <p:nvPr/>
        </p:nvGrpSpPr>
        <p:grpSpPr bwMode="gray">
          <a:xfrm>
            <a:off x="8288899" y="258318"/>
            <a:ext cx="595440" cy="370757"/>
            <a:chOff x="248864" y="1309239"/>
            <a:chExt cx="1116830" cy="695406"/>
          </a:xfrm>
        </p:grpSpPr>
        <p:sp>
          <p:nvSpPr>
            <p:cNvPr id="11" name="Freeform: Shape 10">
              <a:extLst>
                <a:ext uri="{FF2B5EF4-FFF2-40B4-BE49-F238E27FC236}">
                  <a16:creationId xmlns:a16="http://schemas.microsoft.com/office/drawing/2014/main" id="{75118976-F83B-4161-8DA3-9BD54B2A61B3}"/>
                </a:ext>
              </a:extLst>
            </p:cNvPr>
            <p:cNvSpPr/>
            <p:nvPr/>
          </p:nvSpPr>
          <p:spPr bwMode="gray">
            <a:xfrm>
              <a:off x="653702" y="1382595"/>
              <a:ext cx="314326" cy="552451"/>
            </a:xfrm>
            <a:custGeom>
              <a:avLst/>
              <a:gdLst>
                <a:gd name="connsiteX0" fmla="*/ 7144 w 314325"/>
                <a:gd name="connsiteY0" fmla="*/ 7144 h 552450"/>
                <a:gd name="connsiteX1" fmla="*/ 307181 w 314325"/>
                <a:gd name="connsiteY1" fmla="*/ 7144 h 552450"/>
                <a:gd name="connsiteX2" fmla="*/ 307181 w 314325"/>
                <a:gd name="connsiteY2" fmla="*/ 546354 h 552450"/>
                <a:gd name="connsiteX3" fmla="*/ 7144 w 314325"/>
                <a:gd name="connsiteY3" fmla="*/ 546354 h 552450"/>
              </a:gdLst>
              <a:ahLst/>
              <a:cxnLst>
                <a:cxn ang="0">
                  <a:pos x="connsiteX0" y="connsiteY0"/>
                </a:cxn>
                <a:cxn ang="0">
                  <a:pos x="connsiteX1" y="connsiteY1"/>
                </a:cxn>
                <a:cxn ang="0">
                  <a:pos x="connsiteX2" y="connsiteY2"/>
                </a:cxn>
                <a:cxn ang="0">
                  <a:pos x="connsiteX3" y="connsiteY3"/>
                </a:cxn>
              </a:cxnLst>
              <a:rect l="l" t="t" r="r" b="b"/>
              <a:pathLst>
                <a:path w="314325" h="552450">
                  <a:moveTo>
                    <a:pt x="7144" y="7144"/>
                  </a:moveTo>
                  <a:lnTo>
                    <a:pt x="307181" y="7144"/>
                  </a:lnTo>
                  <a:lnTo>
                    <a:pt x="307181" y="546354"/>
                  </a:lnTo>
                  <a:lnTo>
                    <a:pt x="7144" y="546354"/>
                  </a:lnTo>
                  <a:close/>
                </a:path>
              </a:pathLst>
            </a:custGeom>
            <a:solidFill>
              <a:srgbClr val="FF5F00"/>
            </a:solidFill>
            <a:ln w="9525" cap="flat">
              <a:noFill/>
              <a:prstDash val="solid"/>
              <a:miter/>
            </a:ln>
          </p:spPr>
          <p:txBody>
            <a:bodyPr rtlCol="0" anchor="ctr"/>
            <a:lstStyle/>
            <a:p>
              <a:pPr lvl="0"/>
              <a:endParaRPr lang="en-US"/>
            </a:p>
          </p:txBody>
        </p:sp>
        <p:sp>
          <p:nvSpPr>
            <p:cNvPr id="12" name="Freeform: Shape 11">
              <a:extLst>
                <a:ext uri="{FF2B5EF4-FFF2-40B4-BE49-F238E27FC236}">
                  <a16:creationId xmlns:a16="http://schemas.microsoft.com/office/drawing/2014/main" id="{EF533C0F-710F-43B4-AB60-15799585F936}"/>
                </a:ext>
              </a:extLst>
            </p:cNvPr>
            <p:cNvSpPr/>
            <p:nvPr/>
          </p:nvSpPr>
          <p:spPr bwMode="gray">
            <a:xfrm>
              <a:off x="248864" y="1309239"/>
              <a:ext cx="561975" cy="695324"/>
            </a:xfrm>
            <a:custGeom>
              <a:avLst/>
              <a:gdLst>
                <a:gd name="connsiteX0" fmla="*/ 431031 w 561975"/>
                <a:gd name="connsiteY0" fmla="*/ 350058 h 695325"/>
                <a:gd name="connsiteX1" fmla="*/ 562000 w 561975"/>
                <a:gd name="connsiteY1" fmla="*/ 80501 h 695325"/>
                <a:gd name="connsiteX2" fmla="*/ 80501 w 561975"/>
                <a:gd name="connsiteY2" fmla="*/ 138117 h 695325"/>
                <a:gd name="connsiteX3" fmla="*/ 138117 w 561975"/>
                <a:gd name="connsiteY3" fmla="*/ 619616 h 695325"/>
                <a:gd name="connsiteX4" fmla="*/ 562000 w 561975"/>
                <a:gd name="connsiteY4" fmla="*/ 619616 h 695325"/>
                <a:gd name="connsiteX5" fmla="*/ 431031 w 561975"/>
                <a:gd name="connsiteY5" fmla="*/ 35005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975" h="695325">
                  <a:moveTo>
                    <a:pt x="431031" y="350058"/>
                  </a:moveTo>
                  <a:cubicBezTo>
                    <a:pt x="430905" y="244845"/>
                    <a:pt x="479209" y="145428"/>
                    <a:pt x="562000" y="80501"/>
                  </a:cubicBezTo>
                  <a:cubicBezTo>
                    <a:pt x="413127" y="-36551"/>
                    <a:pt x="197553" y="-10756"/>
                    <a:pt x="80501" y="138117"/>
                  </a:cubicBezTo>
                  <a:cubicBezTo>
                    <a:pt x="-36551" y="286989"/>
                    <a:pt x="-10756" y="502564"/>
                    <a:pt x="138117" y="619616"/>
                  </a:cubicBezTo>
                  <a:cubicBezTo>
                    <a:pt x="262491" y="717406"/>
                    <a:pt x="437626" y="717406"/>
                    <a:pt x="562000" y="619616"/>
                  </a:cubicBezTo>
                  <a:cubicBezTo>
                    <a:pt x="479209" y="554688"/>
                    <a:pt x="430905" y="455272"/>
                    <a:pt x="431031" y="350058"/>
                  </a:cubicBezTo>
                  <a:close/>
                </a:path>
              </a:pathLst>
            </a:custGeom>
            <a:solidFill>
              <a:srgbClr val="EB001B"/>
            </a:solidFill>
            <a:ln w="9525" cap="flat">
              <a:noFill/>
              <a:prstDash val="solid"/>
              <a:miter/>
            </a:ln>
          </p:spPr>
          <p:txBody>
            <a:bodyPr rtlCol="0" anchor="ctr"/>
            <a:lstStyle/>
            <a:p>
              <a:pPr lvl="0"/>
              <a:endParaRPr lang="en-US"/>
            </a:p>
          </p:txBody>
        </p:sp>
        <p:sp>
          <p:nvSpPr>
            <p:cNvPr id="17" name="Freeform: Shape 16">
              <a:extLst>
                <a:ext uri="{FF2B5EF4-FFF2-40B4-BE49-F238E27FC236}">
                  <a16:creationId xmlns:a16="http://schemas.microsoft.com/office/drawing/2014/main" id="{175A42B5-E23A-4E96-ABCD-201030ED05A6}"/>
                </a:ext>
              </a:extLst>
            </p:cNvPr>
            <p:cNvSpPr/>
            <p:nvPr/>
          </p:nvSpPr>
          <p:spPr bwMode="gray">
            <a:xfrm>
              <a:off x="803719" y="1309321"/>
              <a:ext cx="561975" cy="695324"/>
            </a:xfrm>
            <a:custGeom>
              <a:avLst/>
              <a:gdLst>
                <a:gd name="connsiteX0" fmla="*/ 561880 w 561975"/>
                <a:gd name="connsiteY0" fmla="*/ 349975 h 695325"/>
                <a:gd name="connsiteX1" fmla="*/ 218897 w 561975"/>
                <a:gd name="connsiteY1" fmla="*/ 692793 h 695325"/>
                <a:gd name="connsiteX2" fmla="*/ 7144 w 561975"/>
                <a:gd name="connsiteY2" fmla="*/ 619533 h 695325"/>
                <a:gd name="connsiteX3" fmla="*/ 64760 w 561975"/>
                <a:gd name="connsiteY3" fmla="*/ 138034 h 695325"/>
                <a:gd name="connsiteX4" fmla="*/ 7144 w 561975"/>
                <a:gd name="connsiteY4" fmla="*/ 80418 h 695325"/>
                <a:gd name="connsiteX5" fmla="*/ 488620 w 561975"/>
                <a:gd name="connsiteY5" fmla="*/ 138222 h 695325"/>
                <a:gd name="connsiteX6" fmla="*/ 561880 w 561975"/>
                <a:gd name="connsiteY6" fmla="*/ 349975 h 695325"/>
                <a:gd name="connsiteX7" fmla="*/ 529209 w 561975"/>
                <a:gd name="connsiteY7" fmla="*/ 562478 h 695325"/>
                <a:gd name="connsiteX8" fmla="*/ 529209 w 561975"/>
                <a:gd name="connsiteY8" fmla="*/ 551429 h 695325"/>
                <a:gd name="connsiteX9" fmla="*/ 533686 w 561975"/>
                <a:gd name="connsiteY9" fmla="*/ 551429 h 695325"/>
                <a:gd name="connsiteX10" fmla="*/ 533686 w 561975"/>
                <a:gd name="connsiteY10" fmla="*/ 549143 h 695325"/>
                <a:gd name="connsiteX11" fmla="*/ 522446 w 561975"/>
                <a:gd name="connsiteY11" fmla="*/ 549143 h 695325"/>
                <a:gd name="connsiteX12" fmla="*/ 522446 w 561975"/>
                <a:gd name="connsiteY12" fmla="*/ 551429 h 695325"/>
                <a:gd name="connsiteX13" fmla="*/ 526828 w 561975"/>
                <a:gd name="connsiteY13" fmla="*/ 551429 h 695325"/>
                <a:gd name="connsiteX14" fmla="*/ 526828 w 561975"/>
                <a:gd name="connsiteY14" fmla="*/ 562478 h 695325"/>
                <a:gd name="connsiteX15" fmla="*/ 551212 w 561975"/>
                <a:gd name="connsiteY15" fmla="*/ 562478 h 695325"/>
                <a:gd name="connsiteX16" fmla="*/ 551212 w 561975"/>
                <a:gd name="connsiteY16" fmla="*/ 549143 h 695325"/>
                <a:gd name="connsiteX17" fmla="*/ 547687 w 561975"/>
                <a:gd name="connsiteY17" fmla="*/ 549143 h 695325"/>
                <a:gd name="connsiteX18" fmla="*/ 543687 w 561975"/>
                <a:gd name="connsiteY18" fmla="*/ 558668 h 695325"/>
                <a:gd name="connsiteX19" fmla="*/ 539686 w 561975"/>
                <a:gd name="connsiteY19" fmla="*/ 549143 h 695325"/>
                <a:gd name="connsiteX20" fmla="*/ 536258 w 561975"/>
                <a:gd name="connsiteY20" fmla="*/ 549143 h 695325"/>
                <a:gd name="connsiteX21" fmla="*/ 536258 w 561975"/>
                <a:gd name="connsiteY21" fmla="*/ 562478 h 695325"/>
                <a:gd name="connsiteX22" fmla="*/ 538734 w 561975"/>
                <a:gd name="connsiteY22" fmla="*/ 562478 h 695325"/>
                <a:gd name="connsiteX23" fmla="*/ 538734 w 561975"/>
                <a:gd name="connsiteY23" fmla="*/ 552382 h 695325"/>
                <a:gd name="connsiteX24" fmla="*/ 542449 w 561975"/>
                <a:gd name="connsiteY24" fmla="*/ 561049 h 695325"/>
                <a:gd name="connsiteX25" fmla="*/ 545020 w 561975"/>
                <a:gd name="connsiteY25" fmla="*/ 561049 h 695325"/>
                <a:gd name="connsiteX26" fmla="*/ 548735 w 561975"/>
                <a:gd name="connsiteY26" fmla="*/ 552382 h 695325"/>
                <a:gd name="connsiteX27" fmla="*/ 548735 w 561975"/>
                <a:gd name="connsiteY27" fmla="*/ 56247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61975" h="695325">
                  <a:moveTo>
                    <a:pt x="561880" y="349975"/>
                  </a:moveTo>
                  <a:cubicBezTo>
                    <a:pt x="561834" y="539354"/>
                    <a:pt x="408276" y="692838"/>
                    <a:pt x="218897" y="692793"/>
                  </a:cubicBezTo>
                  <a:cubicBezTo>
                    <a:pt x="142100" y="692774"/>
                    <a:pt x="67533" y="666976"/>
                    <a:pt x="7144" y="619533"/>
                  </a:cubicBezTo>
                  <a:cubicBezTo>
                    <a:pt x="156016" y="502481"/>
                    <a:pt x="181812" y="286906"/>
                    <a:pt x="64760" y="138034"/>
                  </a:cubicBezTo>
                  <a:cubicBezTo>
                    <a:pt x="47913" y="116607"/>
                    <a:pt x="28571" y="97265"/>
                    <a:pt x="7144" y="80418"/>
                  </a:cubicBezTo>
                  <a:cubicBezTo>
                    <a:pt x="156062" y="-36576"/>
                    <a:pt x="371626" y="-10696"/>
                    <a:pt x="488620" y="138222"/>
                  </a:cubicBezTo>
                  <a:cubicBezTo>
                    <a:pt x="536063" y="198612"/>
                    <a:pt x="561861" y="273179"/>
                    <a:pt x="561880" y="349975"/>
                  </a:cubicBezTo>
                  <a:close/>
                  <a:moveTo>
                    <a:pt x="529209" y="562478"/>
                  </a:moveTo>
                  <a:lnTo>
                    <a:pt x="529209" y="551429"/>
                  </a:lnTo>
                  <a:lnTo>
                    <a:pt x="533686" y="551429"/>
                  </a:lnTo>
                  <a:lnTo>
                    <a:pt x="533686" y="549143"/>
                  </a:lnTo>
                  <a:lnTo>
                    <a:pt x="522446" y="549143"/>
                  </a:lnTo>
                  <a:lnTo>
                    <a:pt x="522446" y="551429"/>
                  </a:lnTo>
                  <a:lnTo>
                    <a:pt x="526828" y="551429"/>
                  </a:lnTo>
                  <a:lnTo>
                    <a:pt x="526828" y="562478"/>
                  </a:lnTo>
                  <a:close/>
                  <a:moveTo>
                    <a:pt x="551212" y="562478"/>
                  </a:moveTo>
                  <a:lnTo>
                    <a:pt x="551212" y="549143"/>
                  </a:lnTo>
                  <a:lnTo>
                    <a:pt x="547687" y="549143"/>
                  </a:lnTo>
                  <a:lnTo>
                    <a:pt x="543687" y="558668"/>
                  </a:lnTo>
                  <a:lnTo>
                    <a:pt x="539686" y="549143"/>
                  </a:lnTo>
                  <a:lnTo>
                    <a:pt x="536258" y="549143"/>
                  </a:lnTo>
                  <a:lnTo>
                    <a:pt x="536258" y="562478"/>
                  </a:lnTo>
                  <a:lnTo>
                    <a:pt x="538734" y="562478"/>
                  </a:lnTo>
                  <a:lnTo>
                    <a:pt x="538734" y="552382"/>
                  </a:lnTo>
                  <a:lnTo>
                    <a:pt x="542449" y="561049"/>
                  </a:lnTo>
                  <a:lnTo>
                    <a:pt x="545020" y="561049"/>
                  </a:lnTo>
                  <a:lnTo>
                    <a:pt x="548735" y="552382"/>
                  </a:lnTo>
                  <a:lnTo>
                    <a:pt x="548735" y="562478"/>
                  </a:lnTo>
                  <a:close/>
                </a:path>
              </a:pathLst>
            </a:custGeom>
            <a:solidFill>
              <a:srgbClr val="F79E1B"/>
            </a:solid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24888984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long), Subtitle and Content">
    <p:bg bwMode="gray">
      <p:bgPr>
        <a:solidFill>
          <a:schemeClr val="bg1"/>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a:p>
        </p:txBody>
      </p:sp>
      <p:sp>
        <p:nvSpPr>
          <p:cNvPr id="12" name="Footer Placeholder 4"/>
          <p:cNvSpPr>
            <a:spLocks noGrp="1"/>
          </p:cNvSpPr>
          <p:nvPr>
            <p:ph type="ftr" sz="quarter" idx="16"/>
          </p:nvPr>
        </p:nvSpPr>
        <p:spPr bwMode="gray"/>
        <p:txBody>
          <a:bodyPr/>
          <a:lstStyle/>
          <a:p>
            <a:endParaRPr lang="en-US"/>
          </a:p>
        </p:txBody>
      </p:sp>
      <p:sp>
        <p:nvSpPr>
          <p:cNvPr id="11" name="Date Placeholder 3"/>
          <p:cNvSpPr>
            <a:spLocks noGrp="1"/>
          </p:cNvSpPr>
          <p:nvPr>
            <p:ph type="dt" sz="half" idx="15"/>
          </p:nvPr>
        </p:nvSpPr>
        <p:spPr bwMode="gray"/>
        <p:txBody>
          <a:bodyPr/>
          <a:lstStyle/>
          <a:p>
            <a:r>
              <a:rPr lang="en-US"/>
              <a:t>February 15, 2024</a:t>
            </a:r>
          </a:p>
        </p:txBody>
      </p:sp>
      <p:sp>
        <p:nvSpPr>
          <p:cNvPr id="8" name="Text Placeholder 7"/>
          <p:cNvSpPr>
            <a:spLocks noGrp="1"/>
          </p:cNvSpPr>
          <p:nvPr>
            <p:ph type="body" sz="quarter" idx="14"/>
          </p:nvPr>
        </p:nvSpPr>
        <p:spPr bwMode="gray">
          <a:xfrm>
            <a:off x="3119438" y="727556"/>
            <a:ext cx="5458009" cy="3587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2"/>
          <p:cNvSpPr>
            <a:spLocks noGrp="1"/>
          </p:cNvSpPr>
          <p:nvPr>
            <p:ph type="body" idx="13" hasCustomPrompt="1"/>
          </p:nvPr>
        </p:nvSpPr>
        <p:spPr bwMode="gray">
          <a:xfrm>
            <a:off x="164592" y="727556"/>
            <a:ext cx="2725896" cy="717196"/>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Click to add subtitle or secondary text</a:t>
            </a:r>
          </a:p>
        </p:txBody>
      </p:sp>
      <p:sp>
        <p:nvSpPr>
          <p:cNvPr id="7" name="Title 1"/>
          <p:cNvSpPr>
            <a:spLocks noGrp="1"/>
          </p:cNvSpPr>
          <p:nvPr>
            <p:ph type="title"/>
          </p:nvPr>
        </p:nvSpPr>
        <p:spPr bwMode="gray">
          <a:xfrm>
            <a:off x="164594" y="192025"/>
            <a:ext cx="8412854" cy="310896"/>
          </a:xfrm>
        </p:spPr>
        <p:txBody>
          <a:bodyPr/>
          <a:lstStyle/>
          <a:p>
            <a:r>
              <a:rPr lang="en-US"/>
              <a:t>Click to edit Master title style</a:t>
            </a:r>
          </a:p>
        </p:txBody>
      </p:sp>
    </p:spTree>
    <p:extLst>
      <p:ext uri="{BB962C8B-B14F-4D97-AF65-F5344CB8AC3E}">
        <p14:creationId xmlns:p14="http://schemas.microsoft.com/office/powerpoint/2010/main" val="37888699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nd Content">
    <p:bg bwMode="gray">
      <p:bgPr>
        <a:solidFill>
          <a:schemeClr val="bg1"/>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a:p>
        </p:txBody>
      </p:sp>
      <p:sp>
        <p:nvSpPr>
          <p:cNvPr id="12" name="Footer Placeholder 4"/>
          <p:cNvSpPr>
            <a:spLocks noGrp="1"/>
          </p:cNvSpPr>
          <p:nvPr>
            <p:ph type="ftr" sz="quarter" idx="16"/>
          </p:nvPr>
        </p:nvSpPr>
        <p:spPr bwMode="gray"/>
        <p:txBody>
          <a:bodyPr/>
          <a:lstStyle/>
          <a:p>
            <a:endParaRPr lang="en-US"/>
          </a:p>
        </p:txBody>
      </p:sp>
      <p:sp>
        <p:nvSpPr>
          <p:cNvPr id="11" name="Date Placeholder 3"/>
          <p:cNvSpPr>
            <a:spLocks noGrp="1"/>
          </p:cNvSpPr>
          <p:nvPr>
            <p:ph type="dt" sz="half" idx="15"/>
          </p:nvPr>
        </p:nvSpPr>
        <p:spPr bwMode="gray"/>
        <p:txBody>
          <a:bodyPr/>
          <a:lstStyle/>
          <a:p>
            <a:r>
              <a:rPr lang="en-US"/>
              <a:t>February 15, 2024</a:t>
            </a:r>
          </a:p>
        </p:txBody>
      </p:sp>
      <p:sp>
        <p:nvSpPr>
          <p:cNvPr id="8" name="Text Placeholder 7"/>
          <p:cNvSpPr>
            <a:spLocks noGrp="1"/>
          </p:cNvSpPr>
          <p:nvPr>
            <p:ph type="body" sz="quarter" idx="14"/>
          </p:nvPr>
        </p:nvSpPr>
        <p:spPr bwMode="gray">
          <a:xfrm>
            <a:off x="3119438" y="192088"/>
            <a:ext cx="5458009" cy="41257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2"/>
          <p:cNvSpPr>
            <a:spLocks noGrp="1"/>
          </p:cNvSpPr>
          <p:nvPr>
            <p:ph type="body" idx="13" hasCustomPrompt="1"/>
          </p:nvPr>
        </p:nvSpPr>
        <p:spPr bwMode="gray">
          <a:xfrm>
            <a:off x="164592" y="1042416"/>
            <a:ext cx="2725896" cy="617934"/>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Click to add subtitle or secondary text</a:t>
            </a:r>
          </a:p>
        </p:txBody>
      </p:sp>
      <p:sp>
        <p:nvSpPr>
          <p:cNvPr id="7" name="Title 1"/>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7877053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ubtitle and Content (no bullets)">
    <p:bg bwMode="gray">
      <p:bgPr>
        <a:solidFill>
          <a:schemeClr val="bg1"/>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a:p>
        </p:txBody>
      </p:sp>
      <p:sp>
        <p:nvSpPr>
          <p:cNvPr id="12" name="Footer Placeholder 4"/>
          <p:cNvSpPr>
            <a:spLocks noGrp="1"/>
          </p:cNvSpPr>
          <p:nvPr>
            <p:ph type="ftr" sz="quarter" idx="16"/>
          </p:nvPr>
        </p:nvSpPr>
        <p:spPr bwMode="gray"/>
        <p:txBody>
          <a:bodyPr/>
          <a:lstStyle/>
          <a:p>
            <a:endParaRPr lang="en-US"/>
          </a:p>
        </p:txBody>
      </p:sp>
      <p:sp>
        <p:nvSpPr>
          <p:cNvPr id="11" name="Date Placeholder 3"/>
          <p:cNvSpPr>
            <a:spLocks noGrp="1"/>
          </p:cNvSpPr>
          <p:nvPr>
            <p:ph type="dt" sz="half" idx="15"/>
          </p:nvPr>
        </p:nvSpPr>
        <p:spPr bwMode="gray"/>
        <p:txBody>
          <a:bodyPr/>
          <a:lstStyle/>
          <a:p>
            <a:r>
              <a:rPr lang="en-US"/>
              <a:t>February 15, 2024</a:t>
            </a:r>
          </a:p>
        </p:txBody>
      </p:sp>
      <p:sp>
        <p:nvSpPr>
          <p:cNvPr id="8" name="Text Placeholder 7"/>
          <p:cNvSpPr>
            <a:spLocks noGrp="1"/>
          </p:cNvSpPr>
          <p:nvPr>
            <p:ph type="body" sz="quarter" idx="14"/>
          </p:nvPr>
        </p:nvSpPr>
        <p:spPr bwMode="gray">
          <a:xfrm>
            <a:off x="3119438" y="192088"/>
            <a:ext cx="5458009" cy="4125742"/>
          </a:xfrm>
        </p:spPr>
        <p:txBody>
          <a:bodyPr/>
          <a:lstStyle>
            <a:lvl1pPr marL="0" indent="0">
              <a:buNone/>
              <a:defRPr/>
            </a:lvl1pPr>
            <a:lvl2pPr marL="147634" indent="0">
              <a:buNone/>
              <a:defRPr/>
            </a:lvl2pPr>
            <a:lvl3pPr marL="287330" indent="0">
              <a:buNone/>
              <a:defRPr/>
            </a:lvl3pPr>
            <a:lvl4pPr marL="434964" indent="0">
              <a:buNone/>
              <a:defRPr/>
            </a:lvl4pPr>
            <a:lvl5pPr marL="568311" indent="0">
              <a:buNone/>
              <a:defRPr/>
            </a:lvl5pPr>
          </a:lstStyle>
          <a:p>
            <a:pPr lvl="0"/>
            <a:r>
              <a:rPr lang="en-US"/>
              <a:t>Click to edit Master text styles</a:t>
            </a:r>
          </a:p>
        </p:txBody>
      </p:sp>
      <p:sp>
        <p:nvSpPr>
          <p:cNvPr id="22" name="Subtitle 2"/>
          <p:cNvSpPr>
            <a:spLocks noGrp="1"/>
          </p:cNvSpPr>
          <p:nvPr>
            <p:ph type="body" idx="13" hasCustomPrompt="1"/>
          </p:nvPr>
        </p:nvSpPr>
        <p:spPr bwMode="gray">
          <a:xfrm>
            <a:off x="164592" y="1042416"/>
            <a:ext cx="2725896" cy="617934"/>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Click to add subtitle or secondary text</a:t>
            </a:r>
          </a:p>
        </p:txBody>
      </p:sp>
      <p:sp>
        <p:nvSpPr>
          <p:cNvPr id="7" name="Title 1"/>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20564486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mparison (long title)">
    <p:bg bwMode="gray">
      <p:bgPr>
        <a:solidFill>
          <a:schemeClr val="bg1"/>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a:p>
        </p:txBody>
      </p:sp>
      <p:sp>
        <p:nvSpPr>
          <p:cNvPr id="12" name="Footer Placeholder 4"/>
          <p:cNvSpPr>
            <a:spLocks noGrp="1"/>
          </p:cNvSpPr>
          <p:nvPr>
            <p:ph type="ftr" sz="quarter" idx="16"/>
          </p:nvPr>
        </p:nvSpPr>
        <p:spPr bwMode="gray"/>
        <p:txBody>
          <a:bodyPr/>
          <a:lstStyle/>
          <a:p>
            <a:endParaRPr lang="en-US"/>
          </a:p>
        </p:txBody>
      </p:sp>
      <p:sp>
        <p:nvSpPr>
          <p:cNvPr id="11" name="Date Placeholder 3"/>
          <p:cNvSpPr>
            <a:spLocks noGrp="1"/>
          </p:cNvSpPr>
          <p:nvPr>
            <p:ph type="dt" sz="half" idx="15"/>
          </p:nvPr>
        </p:nvSpPr>
        <p:spPr bwMode="gray"/>
        <p:txBody>
          <a:bodyPr/>
          <a:lstStyle/>
          <a:p>
            <a:r>
              <a:rPr lang="en-US"/>
              <a:t>February 15, 2024</a:t>
            </a:r>
          </a:p>
        </p:txBody>
      </p:sp>
      <p:sp>
        <p:nvSpPr>
          <p:cNvPr id="8" name="Text Placeholder 7"/>
          <p:cNvSpPr>
            <a:spLocks noGrp="1"/>
          </p:cNvSpPr>
          <p:nvPr>
            <p:ph type="body" sz="quarter" idx="14"/>
          </p:nvPr>
        </p:nvSpPr>
        <p:spPr bwMode="gray">
          <a:xfrm>
            <a:off x="164593" y="727513"/>
            <a:ext cx="3897622" cy="35953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bwMode="gray">
          <a:xfrm>
            <a:off x="164594" y="192025"/>
            <a:ext cx="8412854" cy="310896"/>
          </a:xfrm>
        </p:spPr>
        <p:txBody>
          <a:bodyPr/>
          <a:lstStyle/>
          <a:p>
            <a:r>
              <a:rPr lang="en-US"/>
              <a:t>Click to edit Master title style</a:t>
            </a:r>
          </a:p>
        </p:txBody>
      </p:sp>
      <p:sp>
        <p:nvSpPr>
          <p:cNvPr id="3" name="Text Placeholder 2"/>
          <p:cNvSpPr>
            <a:spLocks noGrp="1"/>
          </p:cNvSpPr>
          <p:nvPr>
            <p:ph type="body" sz="quarter" idx="18"/>
          </p:nvPr>
        </p:nvSpPr>
        <p:spPr bwMode="gray">
          <a:xfrm>
            <a:off x="4679824" y="727555"/>
            <a:ext cx="3897623" cy="35937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44621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mparison">
    <p:bg bwMode="gray">
      <p:bgPr>
        <a:solidFill>
          <a:schemeClr val="bg1"/>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a:p>
        </p:txBody>
      </p:sp>
      <p:sp>
        <p:nvSpPr>
          <p:cNvPr id="12" name="Footer Placeholder 4"/>
          <p:cNvSpPr>
            <a:spLocks noGrp="1"/>
          </p:cNvSpPr>
          <p:nvPr>
            <p:ph type="ftr" sz="quarter" idx="16"/>
          </p:nvPr>
        </p:nvSpPr>
        <p:spPr bwMode="gray"/>
        <p:txBody>
          <a:bodyPr/>
          <a:lstStyle/>
          <a:p>
            <a:endParaRPr lang="en-US"/>
          </a:p>
        </p:txBody>
      </p:sp>
      <p:sp>
        <p:nvSpPr>
          <p:cNvPr id="11" name="Date Placeholder 3"/>
          <p:cNvSpPr>
            <a:spLocks noGrp="1"/>
          </p:cNvSpPr>
          <p:nvPr>
            <p:ph type="dt" sz="half" idx="15"/>
          </p:nvPr>
        </p:nvSpPr>
        <p:spPr bwMode="gray"/>
        <p:txBody>
          <a:bodyPr/>
          <a:lstStyle/>
          <a:p>
            <a:r>
              <a:rPr lang="en-US"/>
              <a:t>February 15, 2024</a:t>
            </a:r>
          </a:p>
        </p:txBody>
      </p:sp>
      <p:sp>
        <p:nvSpPr>
          <p:cNvPr id="8" name="Text Placeholder 7"/>
          <p:cNvSpPr>
            <a:spLocks noGrp="1"/>
          </p:cNvSpPr>
          <p:nvPr>
            <p:ph type="body" sz="quarter" idx="14"/>
          </p:nvPr>
        </p:nvSpPr>
        <p:spPr bwMode="gray">
          <a:xfrm>
            <a:off x="3119438" y="192023"/>
            <a:ext cx="2642070" cy="41293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bwMode="gray"/>
        <p:txBody>
          <a:bodyPr/>
          <a:lstStyle/>
          <a:p>
            <a:r>
              <a:rPr lang="en-US"/>
              <a:t>Click to edit Master title style</a:t>
            </a:r>
          </a:p>
        </p:txBody>
      </p:sp>
      <p:sp>
        <p:nvSpPr>
          <p:cNvPr id="3" name="Text Placeholder 2"/>
          <p:cNvSpPr>
            <a:spLocks noGrp="1"/>
          </p:cNvSpPr>
          <p:nvPr>
            <p:ph type="body" sz="quarter" idx="18"/>
          </p:nvPr>
        </p:nvSpPr>
        <p:spPr bwMode="gray">
          <a:xfrm>
            <a:off x="5935377" y="192023"/>
            <a:ext cx="2642070" cy="41293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34037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mparison (long title) with Subtitle">
    <p:bg bwMode="gray">
      <p:bgPr>
        <a:solidFill>
          <a:schemeClr val="bg1"/>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a:p>
        </p:txBody>
      </p:sp>
      <p:sp>
        <p:nvSpPr>
          <p:cNvPr id="12" name="Footer Placeholder 4"/>
          <p:cNvSpPr>
            <a:spLocks noGrp="1"/>
          </p:cNvSpPr>
          <p:nvPr>
            <p:ph type="ftr" sz="quarter" idx="16"/>
          </p:nvPr>
        </p:nvSpPr>
        <p:spPr bwMode="gray"/>
        <p:txBody>
          <a:bodyPr/>
          <a:lstStyle/>
          <a:p>
            <a:endParaRPr lang="en-US"/>
          </a:p>
        </p:txBody>
      </p:sp>
      <p:sp>
        <p:nvSpPr>
          <p:cNvPr id="11" name="Date Placeholder 3"/>
          <p:cNvSpPr>
            <a:spLocks noGrp="1"/>
          </p:cNvSpPr>
          <p:nvPr>
            <p:ph type="dt" sz="half" idx="15"/>
          </p:nvPr>
        </p:nvSpPr>
        <p:spPr bwMode="gray"/>
        <p:txBody>
          <a:bodyPr/>
          <a:lstStyle/>
          <a:p>
            <a:r>
              <a:rPr lang="en-US"/>
              <a:t>February 15, 2024</a:t>
            </a:r>
          </a:p>
        </p:txBody>
      </p:sp>
      <p:sp>
        <p:nvSpPr>
          <p:cNvPr id="8" name="Text Placeholder 7"/>
          <p:cNvSpPr>
            <a:spLocks noGrp="1"/>
          </p:cNvSpPr>
          <p:nvPr>
            <p:ph type="body" sz="quarter" idx="14"/>
          </p:nvPr>
        </p:nvSpPr>
        <p:spPr bwMode="gray">
          <a:xfrm>
            <a:off x="3119438" y="727555"/>
            <a:ext cx="2642616" cy="35937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2"/>
          <p:cNvSpPr>
            <a:spLocks noGrp="1"/>
          </p:cNvSpPr>
          <p:nvPr>
            <p:ph type="body" idx="13" hasCustomPrompt="1"/>
          </p:nvPr>
        </p:nvSpPr>
        <p:spPr bwMode="gray">
          <a:xfrm>
            <a:off x="164592" y="727556"/>
            <a:ext cx="2725896" cy="617934"/>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Click to add subtitle or secondary text</a:t>
            </a:r>
          </a:p>
        </p:txBody>
      </p:sp>
      <p:sp>
        <p:nvSpPr>
          <p:cNvPr id="7" name="Title 1"/>
          <p:cNvSpPr>
            <a:spLocks noGrp="1"/>
          </p:cNvSpPr>
          <p:nvPr>
            <p:ph type="title"/>
          </p:nvPr>
        </p:nvSpPr>
        <p:spPr bwMode="gray">
          <a:xfrm>
            <a:off x="164594" y="192025"/>
            <a:ext cx="8412854" cy="310896"/>
          </a:xfrm>
        </p:spPr>
        <p:txBody>
          <a:bodyPr/>
          <a:lstStyle/>
          <a:p>
            <a:r>
              <a:rPr lang="en-US"/>
              <a:t>Click to edit Master title style</a:t>
            </a:r>
          </a:p>
        </p:txBody>
      </p:sp>
      <p:sp>
        <p:nvSpPr>
          <p:cNvPr id="3" name="Text Placeholder 2"/>
          <p:cNvSpPr>
            <a:spLocks noGrp="1"/>
          </p:cNvSpPr>
          <p:nvPr>
            <p:ph type="body" sz="quarter" idx="18"/>
          </p:nvPr>
        </p:nvSpPr>
        <p:spPr bwMode="gray">
          <a:xfrm>
            <a:off x="5934831" y="727555"/>
            <a:ext cx="2642616" cy="35937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22693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mparison with Subtitle">
    <p:bg bwMode="gray">
      <p:bgPr>
        <a:solidFill>
          <a:schemeClr val="bg1"/>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a:p>
        </p:txBody>
      </p:sp>
      <p:sp>
        <p:nvSpPr>
          <p:cNvPr id="12" name="Footer Placeholder 4"/>
          <p:cNvSpPr>
            <a:spLocks noGrp="1"/>
          </p:cNvSpPr>
          <p:nvPr>
            <p:ph type="ftr" sz="quarter" idx="16"/>
          </p:nvPr>
        </p:nvSpPr>
        <p:spPr bwMode="gray"/>
        <p:txBody>
          <a:bodyPr/>
          <a:lstStyle/>
          <a:p>
            <a:endParaRPr lang="en-US"/>
          </a:p>
        </p:txBody>
      </p:sp>
      <p:sp>
        <p:nvSpPr>
          <p:cNvPr id="11" name="Date Placeholder 3"/>
          <p:cNvSpPr>
            <a:spLocks noGrp="1"/>
          </p:cNvSpPr>
          <p:nvPr>
            <p:ph type="dt" sz="half" idx="15"/>
          </p:nvPr>
        </p:nvSpPr>
        <p:spPr bwMode="gray"/>
        <p:txBody>
          <a:bodyPr/>
          <a:lstStyle/>
          <a:p>
            <a:r>
              <a:rPr lang="en-US"/>
              <a:t>February 15, 2024</a:t>
            </a:r>
          </a:p>
        </p:txBody>
      </p:sp>
      <p:sp>
        <p:nvSpPr>
          <p:cNvPr id="8" name="Text Placeholder 7"/>
          <p:cNvSpPr>
            <a:spLocks noGrp="1"/>
          </p:cNvSpPr>
          <p:nvPr>
            <p:ph type="body" sz="quarter" idx="14"/>
          </p:nvPr>
        </p:nvSpPr>
        <p:spPr bwMode="gray">
          <a:xfrm>
            <a:off x="3119438" y="192087"/>
            <a:ext cx="2642616" cy="41292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ubtitle 2"/>
          <p:cNvSpPr>
            <a:spLocks noGrp="1"/>
          </p:cNvSpPr>
          <p:nvPr>
            <p:ph type="body" idx="13" hasCustomPrompt="1"/>
          </p:nvPr>
        </p:nvSpPr>
        <p:spPr bwMode="gray">
          <a:xfrm>
            <a:off x="164592" y="1042416"/>
            <a:ext cx="2725896" cy="617934"/>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Click to add subtitle or secondary text</a:t>
            </a:r>
          </a:p>
        </p:txBody>
      </p:sp>
      <p:sp>
        <p:nvSpPr>
          <p:cNvPr id="7" name="Title 1"/>
          <p:cNvSpPr>
            <a:spLocks noGrp="1"/>
          </p:cNvSpPr>
          <p:nvPr>
            <p:ph type="title"/>
          </p:nvPr>
        </p:nvSpPr>
        <p:spPr bwMode="gray"/>
        <p:txBody>
          <a:bodyPr/>
          <a:lstStyle/>
          <a:p>
            <a:r>
              <a:rPr lang="en-US"/>
              <a:t>Click to edit Master title style</a:t>
            </a:r>
          </a:p>
        </p:txBody>
      </p:sp>
      <p:sp>
        <p:nvSpPr>
          <p:cNvPr id="3" name="Text Placeholder 2"/>
          <p:cNvSpPr>
            <a:spLocks noGrp="1"/>
          </p:cNvSpPr>
          <p:nvPr>
            <p:ph type="body" sz="quarter" idx="18"/>
          </p:nvPr>
        </p:nvSpPr>
        <p:spPr bwMode="gray">
          <a:xfrm>
            <a:off x="5934831" y="192087"/>
            <a:ext cx="2642616" cy="41292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3882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mparison with Subtitle (no bullets)">
    <p:bg bwMode="gray">
      <p:bgPr>
        <a:solidFill>
          <a:schemeClr val="bg1"/>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a:p>
        </p:txBody>
      </p:sp>
      <p:sp>
        <p:nvSpPr>
          <p:cNvPr id="12" name="Footer Placeholder 4"/>
          <p:cNvSpPr>
            <a:spLocks noGrp="1"/>
          </p:cNvSpPr>
          <p:nvPr>
            <p:ph type="ftr" sz="quarter" idx="16"/>
          </p:nvPr>
        </p:nvSpPr>
        <p:spPr bwMode="gray"/>
        <p:txBody>
          <a:bodyPr/>
          <a:lstStyle/>
          <a:p>
            <a:endParaRPr lang="en-US"/>
          </a:p>
        </p:txBody>
      </p:sp>
      <p:sp>
        <p:nvSpPr>
          <p:cNvPr id="11" name="Date Placeholder 3"/>
          <p:cNvSpPr>
            <a:spLocks noGrp="1"/>
          </p:cNvSpPr>
          <p:nvPr>
            <p:ph type="dt" sz="half" idx="15"/>
          </p:nvPr>
        </p:nvSpPr>
        <p:spPr bwMode="gray"/>
        <p:txBody>
          <a:bodyPr/>
          <a:lstStyle/>
          <a:p>
            <a:r>
              <a:rPr lang="en-US"/>
              <a:t>February 15, 2024</a:t>
            </a:r>
          </a:p>
        </p:txBody>
      </p:sp>
      <p:sp>
        <p:nvSpPr>
          <p:cNvPr id="8" name="Text Placeholder 7"/>
          <p:cNvSpPr>
            <a:spLocks noGrp="1"/>
          </p:cNvSpPr>
          <p:nvPr>
            <p:ph type="body" sz="quarter" idx="14"/>
          </p:nvPr>
        </p:nvSpPr>
        <p:spPr bwMode="gray">
          <a:xfrm>
            <a:off x="3119438" y="192087"/>
            <a:ext cx="2642616" cy="4129257"/>
          </a:xfrm>
        </p:spPr>
        <p:txBody>
          <a:bodyPr/>
          <a:lstStyle>
            <a:lvl1pPr marL="0" indent="0">
              <a:buNone/>
              <a:defRPr/>
            </a:lvl1pPr>
            <a:lvl2pPr marL="147634" indent="0">
              <a:buNone/>
              <a:defRPr/>
            </a:lvl2pPr>
            <a:lvl3pPr marL="287330" indent="0">
              <a:buNone/>
              <a:defRPr/>
            </a:lvl3pPr>
            <a:lvl4pPr marL="434964" indent="0">
              <a:buNone/>
              <a:defRPr/>
            </a:lvl4pPr>
            <a:lvl5pPr marL="568311" indent="0">
              <a:buNone/>
              <a:defRPr/>
            </a:lvl5pPr>
          </a:lstStyle>
          <a:p>
            <a:pPr lvl="0"/>
            <a:r>
              <a:rPr lang="en-US"/>
              <a:t>Click to edit Master text styles</a:t>
            </a:r>
          </a:p>
        </p:txBody>
      </p:sp>
      <p:sp>
        <p:nvSpPr>
          <p:cNvPr id="22" name="Subtitle 2"/>
          <p:cNvSpPr>
            <a:spLocks noGrp="1"/>
          </p:cNvSpPr>
          <p:nvPr>
            <p:ph type="body" idx="13" hasCustomPrompt="1"/>
          </p:nvPr>
        </p:nvSpPr>
        <p:spPr bwMode="gray">
          <a:xfrm>
            <a:off x="164592" y="1042416"/>
            <a:ext cx="2725896" cy="617934"/>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Click to add subtitle or secondary text</a:t>
            </a:r>
          </a:p>
        </p:txBody>
      </p:sp>
      <p:sp>
        <p:nvSpPr>
          <p:cNvPr id="7" name="Title 1"/>
          <p:cNvSpPr>
            <a:spLocks noGrp="1"/>
          </p:cNvSpPr>
          <p:nvPr>
            <p:ph type="title"/>
          </p:nvPr>
        </p:nvSpPr>
        <p:spPr bwMode="gray"/>
        <p:txBody>
          <a:bodyPr/>
          <a:lstStyle/>
          <a:p>
            <a:r>
              <a:rPr lang="en-US"/>
              <a:t>Click to edit Master title style</a:t>
            </a:r>
          </a:p>
        </p:txBody>
      </p:sp>
      <p:sp>
        <p:nvSpPr>
          <p:cNvPr id="3" name="Text Placeholder 2"/>
          <p:cNvSpPr>
            <a:spLocks noGrp="1"/>
          </p:cNvSpPr>
          <p:nvPr>
            <p:ph type="body" sz="quarter" idx="18"/>
          </p:nvPr>
        </p:nvSpPr>
        <p:spPr bwMode="gray">
          <a:xfrm>
            <a:off x="5934831" y="192087"/>
            <a:ext cx="2642616" cy="4129257"/>
          </a:xfrm>
        </p:spPr>
        <p:txBody>
          <a:bodyPr/>
          <a:lstStyle>
            <a:lvl1pPr marL="0" indent="0">
              <a:buNone/>
              <a:defRPr/>
            </a:lvl1pPr>
            <a:lvl2pPr marL="147634" indent="0">
              <a:buNone/>
              <a:defRPr/>
            </a:lvl2pPr>
            <a:lvl3pPr marL="287330" indent="0">
              <a:buNone/>
              <a:defRPr/>
            </a:lvl3pPr>
            <a:lvl4pPr marL="434964" indent="0">
              <a:buNone/>
              <a:defRPr/>
            </a:lvl4pPr>
            <a:lvl5pPr marL="568311" indent="0">
              <a:buNone/>
              <a:defRPr/>
            </a:lvl5pPr>
          </a:lstStyle>
          <a:p>
            <a:pPr lvl="0"/>
            <a:r>
              <a:rPr lang="en-US"/>
              <a:t>Click to edit Master text styles</a:t>
            </a:r>
          </a:p>
        </p:txBody>
      </p:sp>
    </p:spTree>
    <p:extLst>
      <p:ext uri="{BB962C8B-B14F-4D97-AF65-F5344CB8AC3E}">
        <p14:creationId xmlns:p14="http://schemas.microsoft.com/office/powerpoint/2010/main" val="34476570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long)">
    <p:bg bwMode="gray">
      <p:bgPr>
        <a:solidFill>
          <a:schemeClr val="bg1"/>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a:p>
        </p:txBody>
      </p:sp>
      <p:sp>
        <p:nvSpPr>
          <p:cNvPr id="12" name="Footer Placeholder 4"/>
          <p:cNvSpPr>
            <a:spLocks noGrp="1"/>
          </p:cNvSpPr>
          <p:nvPr>
            <p:ph type="ftr" sz="quarter" idx="16"/>
          </p:nvPr>
        </p:nvSpPr>
        <p:spPr bwMode="gray"/>
        <p:txBody>
          <a:bodyPr/>
          <a:lstStyle/>
          <a:p>
            <a:endParaRPr lang="en-US"/>
          </a:p>
        </p:txBody>
      </p:sp>
      <p:sp>
        <p:nvSpPr>
          <p:cNvPr id="11" name="Date Placeholder 3"/>
          <p:cNvSpPr>
            <a:spLocks noGrp="1"/>
          </p:cNvSpPr>
          <p:nvPr>
            <p:ph type="dt" sz="half" idx="15"/>
          </p:nvPr>
        </p:nvSpPr>
        <p:spPr bwMode="gray"/>
        <p:txBody>
          <a:bodyPr/>
          <a:lstStyle/>
          <a:p>
            <a:r>
              <a:rPr lang="en-US"/>
              <a:t>February 15, 2024</a:t>
            </a:r>
          </a:p>
        </p:txBody>
      </p:sp>
      <p:sp>
        <p:nvSpPr>
          <p:cNvPr id="7" name="Title 1"/>
          <p:cNvSpPr>
            <a:spLocks noGrp="1"/>
          </p:cNvSpPr>
          <p:nvPr>
            <p:ph type="title"/>
          </p:nvPr>
        </p:nvSpPr>
        <p:spPr bwMode="gray">
          <a:xfrm>
            <a:off x="164592" y="192025"/>
            <a:ext cx="8412855" cy="310896"/>
          </a:xfrm>
        </p:spPr>
        <p:txBody>
          <a:bodyPr/>
          <a:lstStyle/>
          <a:p>
            <a:r>
              <a:rPr lang="en-US"/>
              <a:t>Click to edit Master title style</a:t>
            </a:r>
          </a:p>
        </p:txBody>
      </p:sp>
    </p:spTree>
    <p:extLst>
      <p:ext uri="{BB962C8B-B14F-4D97-AF65-F5344CB8AC3E}">
        <p14:creationId xmlns:p14="http://schemas.microsoft.com/office/powerpoint/2010/main" val="32185289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bg bwMode="gray">
      <p:bgPr>
        <a:solidFill>
          <a:schemeClr val="bg1"/>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12"/>
          </p:nvPr>
        </p:nvSpPr>
        <p:spPr bwMode="gray"/>
        <p:txBody>
          <a:bodyPr/>
          <a:lstStyle/>
          <a:p>
            <a:fld id="{3AB2DB24-5BB4-4F1B-973E-A10FA63DFB9A}" type="slidenum">
              <a:rPr lang="en-US" smtClean="0"/>
              <a:pPr/>
              <a:t>‹#›</a:t>
            </a:fld>
            <a:endParaRPr lang="en-US"/>
          </a:p>
        </p:txBody>
      </p:sp>
      <p:sp>
        <p:nvSpPr>
          <p:cNvPr id="6" name="Footer Placeholder 4"/>
          <p:cNvSpPr>
            <a:spLocks noGrp="1"/>
          </p:cNvSpPr>
          <p:nvPr>
            <p:ph type="ftr" sz="quarter" idx="11"/>
          </p:nvPr>
        </p:nvSpPr>
        <p:spPr bwMode="gray"/>
        <p:txBody>
          <a:bodyPr/>
          <a:lstStyle/>
          <a:p>
            <a:endParaRPr lang="en-US"/>
          </a:p>
        </p:txBody>
      </p:sp>
      <p:sp>
        <p:nvSpPr>
          <p:cNvPr id="5" name="Date Placeholder 3"/>
          <p:cNvSpPr>
            <a:spLocks noGrp="1"/>
          </p:cNvSpPr>
          <p:nvPr>
            <p:ph type="dt" sz="half" idx="10"/>
          </p:nvPr>
        </p:nvSpPr>
        <p:spPr bwMode="gray"/>
        <p:txBody>
          <a:bodyPr/>
          <a:lstStyle/>
          <a:p>
            <a:r>
              <a:rPr lang="en-US"/>
              <a:t>February 15, 2024</a:t>
            </a:r>
          </a:p>
        </p:txBody>
      </p:sp>
    </p:spTree>
    <p:extLst>
      <p:ext uri="{BB962C8B-B14F-4D97-AF65-F5344CB8AC3E}">
        <p14:creationId xmlns:p14="http://schemas.microsoft.com/office/powerpoint/2010/main" val="30182999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Graphic - Dark">
    <p:bg bwMode="gray">
      <p:bgPr>
        <a:solidFill>
          <a:srgbClr val="242423"/>
        </a:solidFill>
        <a:effectLst/>
      </p:bgPr>
    </p:bg>
    <p:spTree>
      <p:nvGrpSpPr>
        <p:cNvPr id="1" name=""/>
        <p:cNvGrpSpPr/>
        <p:nvPr/>
      </p:nvGrpSpPr>
      <p:grpSpPr>
        <a:xfrm>
          <a:off x="0" y="0"/>
          <a:ext cx="0" cy="0"/>
          <a:chOff x="0" y="0"/>
          <a:chExt cx="0" cy="0"/>
        </a:xfrm>
      </p:grpSpPr>
      <p:sp>
        <p:nvSpPr>
          <p:cNvPr id="8" name="TitleSlideNameDept"/>
          <p:cNvSpPr>
            <a:spLocks noGrp="1"/>
          </p:cNvSpPr>
          <p:nvPr>
            <p:ph type="body" sz="quarter" idx="11" hasCustomPrompt="1"/>
          </p:nvPr>
        </p:nvSpPr>
        <p:spPr bwMode="gray">
          <a:xfrm>
            <a:off x="164592" y="3466431"/>
            <a:ext cx="3124200" cy="170816"/>
          </a:xfrm>
        </p:spPr>
        <p:txBody>
          <a:bodyPr vert="horz" lIns="91440" tIns="0" rIns="91440" bIns="45720" rtlCol="0" anchor="t" anchorCtr="0">
            <a:spAutoFit/>
          </a:bodyPr>
          <a:lstStyle>
            <a:lvl1pPr marL="115885" indent="-115885">
              <a:buNone/>
              <a:defRPr lang="en-US" sz="900" b="0" cap="none" baseline="0" dirty="0" smtClean="0">
                <a:solidFill>
                  <a:srgbClr val="FFFFFF"/>
                </a:solidFill>
                <a:latin typeface="MarkForMC Nrw O" panose="020B0506020201010104" pitchFamily="34" charset="0"/>
              </a:defRPr>
            </a:lvl1pPr>
          </a:lstStyle>
          <a:p>
            <a:pPr marL="0" lvl="0" indent="0"/>
            <a:r>
              <a:rPr lang="en-US"/>
              <a:t>Click to add presenter name, department</a:t>
            </a:r>
          </a:p>
        </p:txBody>
      </p:sp>
      <p:sp>
        <p:nvSpPr>
          <p:cNvPr id="7" name="Date Placeholder 3"/>
          <p:cNvSpPr>
            <a:spLocks noGrp="1"/>
          </p:cNvSpPr>
          <p:nvPr>
            <p:ph type="dt" sz="half" idx="2"/>
          </p:nvPr>
        </p:nvSpPr>
        <p:spPr bwMode="gray">
          <a:xfrm>
            <a:off x="164592" y="3166956"/>
            <a:ext cx="3123564" cy="273844"/>
          </a:xfrm>
          <a:prstGeom prst="rect">
            <a:avLst/>
          </a:prstGeom>
        </p:spPr>
        <p:txBody>
          <a:bodyPr vert="horz" lIns="91440" tIns="45720" rIns="91440" bIns="0" rtlCol="0" anchor="b" anchorCtr="0"/>
          <a:lstStyle>
            <a:lvl1pPr>
              <a:defRPr lang="en-US" sz="900" cap="none" smtClean="0">
                <a:solidFill>
                  <a:srgbClr val="FFFFFF"/>
                </a:solidFill>
                <a:latin typeface="MarkForMC Nrw O" panose="020B0506020201010104" pitchFamily="34" charset="0"/>
              </a:defRPr>
            </a:lvl1pPr>
          </a:lstStyle>
          <a:p>
            <a:r>
              <a:rPr lang="en-US"/>
              <a:t>February 15, 2024</a:t>
            </a:r>
          </a:p>
        </p:txBody>
      </p:sp>
      <p:sp>
        <p:nvSpPr>
          <p:cNvPr id="25" name="Subtitle 2"/>
          <p:cNvSpPr>
            <a:spLocks noGrp="1"/>
          </p:cNvSpPr>
          <p:nvPr>
            <p:ph type="subTitle" idx="1"/>
          </p:nvPr>
        </p:nvSpPr>
        <p:spPr bwMode="gray">
          <a:xfrm>
            <a:off x="164591" y="2717911"/>
            <a:ext cx="6702552" cy="498725"/>
          </a:xfrm>
          <a:ln>
            <a:noFill/>
          </a:ln>
        </p:spPr>
        <p:txBody>
          <a:bodyPr rIns="91440"/>
          <a:lstStyle>
            <a:lvl1pPr marL="0" indent="0" algn="l">
              <a:lnSpc>
                <a:spcPct val="80000"/>
              </a:lnSpc>
              <a:buNone/>
              <a:defRPr sz="1400">
                <a:solidFill>
                  <a:srgbClr val="FFFFFF"/>
                </a:solidFill>
                <a:latin typeface="Mark Offc For MC" panose="020B0504020101010102" pitchFamily="34" charset="0"/>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Click to edit Master subtitle style</a:t>
            </a:r>
          </a:p>
        </p:txBody>
      </p:sp>
      <p:sp>
        <p:nvSpPr>
          <p:cNvPr id="24" name="Title 1"/>
          <p:cNvSpPr>
            <a:spLocks noGrp="1"/>
          </p:cNvSpPr>
          <p:nvPr>
            <p:ph type="ctrTitle"/>
          </p:nvPr>
        </p:nvSpPr>
        <p:spPr bwMode="gray">
          <a:xfrm>
            <a:off x="164591" y="1430456"/>
            <a:ext cx="6702552" cy="1274195"/>
          </a:xfrm>
          <a:ln>
            <a:noFill/>
          </a:ln>
        </p:spPr>
        <p:txBody>
          <a:bodyPr rIns="91440" anchor="b"/>
          <a:lstStyle>
            <a:lvl1pPr algn="l">
              <a:lnSpc>
                <a:spcPct val="80000"/>
              </a:lnSpc>
              <a:defRPr sz="4800" b="0">
                <a:solidFill>
                  <a:srgbClr val="FFFFFF"/>
                </a:solidFill>
                <a:latin typeface="Mark Offc For MC Extra Light" panose="020B0404020101010102" pitchFamily="34" charset="0"/>
              </a:defRPr>
            </a:lvl1pPr>
          </a:lstStyle>
          <a:p>
            <a:r>
              <a:rPr lang="en-US"/>
              <a:t>Click to edit Master title style</a:t>
            </a:r>
          </a:p>
        </p:txBody>
      </p:sp>
      <p:grpSp>
        <p:nvGrpSpPr>
          <p:cNvPr id="11" name="Graphic 9">
            <a:extLst>
              <a:ext uri="{FF2B5EF4-FFF2-40B4-BE49-F238E27FC236}">
                <a16:creationId xmlns:a16="http://schemas.microsoft.com/office/drawing/2014/main" id="{143DA5ED-EC8F-47D7-99AF-FFD50025629B}"/>
              </a:ext>
            </a:extLst>
          </p:cNvPr>
          <p:cNvGrpSpPr>
            <a:grpSpLocks noChangeAspect="1"/>
          </p:cNvGrpSpPr>
          <p:nvPr/>
        </p:nvGrpSpPr>
        <p:grpSpPr bwMode="gray">
          <a:xfrm>
            <a:off x="8288899" y="258318"/>
            <a:ext cx="595440" cy="370757"/>
            <a:chOff x="248864" y="1309239"/>
            <a:chExt cx="1116830" cy="695406"/>
          </a:xfrm>
        </p:grpSpPr>
        <p:sp>
          <p:nvSpPr>
            <p:cNvPr id="12" name="Freeform: Shape 11">
              <a:extLst>
                <a:ext uri="{FF2B5EF4-FFF2-40B4-BE49-F238E27FC236}">
                  <a16:creationId xmlns:a16="http://schemas.microsoft.com/office/drawing/2014/main" id="{DE8644FF-21BA-44E2-97CD-A0A837D4E01B}"/>
                </a:ext>
              </a:extLst>
            </p:cNvPr>
            <p:cNvSpPr/>
            <p:nvPr/>
          </p:nvSpPr>
          <p:spPr bwMode="gray">
            <a:xfrm>
              <a:off x="653702" y="1382595"/>
              <a:ext cx="314326" cy="552451"/>
            </a:xfrm>
            <a:custGeom>
              <a:avLst/>
              <a:gdLst>
                <a:gd name="connsiteX0" fmla="*/ 7144 w 314325"/>
                <a:gd name="connsiteY0" fmla="*/ 7144 h 552450"/>
                <a:gd name="connsiteX1" fmla="*/ 307181 w 314325"/>
                <a:gd name="connsiteY1" fmla="*/ 7144 h 552450"/>
                <a:gd name="connsiteX2" fmla="*/ 307181 w 314325"/>
                <a:gd name="connsiteY2" fmla="*/ 546354 h 552450"/>
                <a:gd name="connsiteX3" fmla="*/ 7144 w 314325"/>
                <a:gd name="connsiteY3" fmla="*/ 546354 h 552450"/>
              </a:gdLst>
              <a:ahLst/>
              <a:cxnLst>
                <a:cxn ang="0">
                  <a:pos x="connsiteX0" y="connsiteY0"/>
                </a:cxn>
                <a:cxn ang="0">
                  <a:pos x="connsiteX1" y="connsiteY1"/>
                </a:cxn>
                <a:cxn ang="0">
                  <a:pos x="connsiteX2" y="connsiteY2"/>
                </a:cxn>
                <a:cxn ang="0">
                  <a:pos x="connsiteX3" y="connsiteY3"/>
                </a:cxn>
              </a:cxnLst>
              <a:rect l="l" t="t" r="r" b="b"/>
              <a:pathLst>
                <a:path w="314325" h="552450">
                  <a:moveTo>
                    <a:pt x="7144" y="7144"/>
                  </a:moveTo>
                  <a:lnTo>
                    <a:pt x="307181" y="7144"/>
                  </a:lnTo>
                  <a:lnTo>
                    <a:pt x="307181" y="546354"/>
                  </a:lnTo>
                  <a:lnTo>
                    <a:pt x="7144" y="546354"/>
                  </a:lnTo>
                  <a:close/>
                </a:path>
              </a:pathLst>
            </a:custGeom>
            <a:solidFill>
              <a:srgbClr val="FF5F00"/>
            </a:solidFill>
            <a:ln w="9525" cap="flat">
              <a:noFill/>
              <a:prstDash val="solid"/>
              <a:miter/>
            </a:ln>
          </p:spPr>
          <p:txBody>
            <a:bodyPr rtlCol="0" anchor="ctr"/>
            <a:lstStyle/>
            <a:p>
              <a:pPr lvl="0"/>
              <a:endParaRPr lang="en-US"/>
            </a:p>
          </p:txBody>
        </p:sp>
        <p:sp>
          <p:nvSpPr>
            <p:cNvPr id="16" name="Freeform: Shape 15">
              <a:extLst>
                <a:ext uri="{FF2B5EF4-FFF2-40B4-BE49-F238E27FC236}">
                  <a16:creationId xmlns:a16="http://schemas.microsoft.com/office/drawing/2014/main" id="{80FC94E2-E937-4C00-884F-B06ADD316975}"/>
                </a:ext>
              </a:extLst>
            </p:cNvPr>
            <p:cNvSpPr/>
            <p:nvPr/>
          </p:nvSpPr>
          <p:spPr bwMode="gray">
            <a:xfrm>
              <a:off x="248864" y="1309239"/>
              <a:ext cx="561975" cy="695324"/>
            </a:xfrm>
            <a:custGeom>
              <a:avLst/>
              <a:gdLst>
                <a:gd name="connsiteX0" fmla="*/ 431031 w 561975"/>
                <a:gd name="connsiteY0" fmla="*/ 350058 h 695325"/>
                <a:gd name="connsiteX1" fmla="*/ 562000 w 561975"/>
                <a:gd name="connsiteY1" fmla="*/ 80501 h 695325"/>
                <a:gd name="connsiteX2" fmla="*/ 80501 w 561975"/>
                <a:gd name="connsiteY2" fmla="*/ 138117 h 695325"/>
                <a:gd name="connsiteX3" fmla="*/ 138117 w 561975"/>
                <a:gd name="connsiteY3" fmla="*/ 619616 h 695325"/>
                <a:gd name="connsiteX4" fmla="*/ 562000 w 561975"/>
                <a:gd name="connsiteY4" fmla="*/ 619616 h 695325"/>
                <a:gd name="connsiteX5" fmla="*/ 431031 w 561975"/>
                <a:gd name="connsiteY5" fmla="*/ 35005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975" h="695325">
                  <a:moveTo>
                    <a:pt x="431031" y="350058"/>
                  </a:moveTo>
                  <a:cubicBezTo>
                    <a:pt x="430905" y="244845"/>
                    <a:pt x="479209" y="145428"/>
                    <a:pt x="562000" y="80501"/>
                  </a:cubicBezTo>
                  <a:cubicBezTo>
                    <a:pt x="413127" y="-36551"/>
                    <a:pt x="197553" y="-10756"/>
                    <a:pt x="80501" y="138117"/>
                  </a:cubicBezTo>
                  <a:cubicBezTo>
                    <a:pt x="-36551" y="286989"/>
                    <a:pt x="-10756" y="502564"/>
                    <a:pt x="138117" y="619616"/>
                  </a:cubicBezTo>
                  <a:cubicBezTo>
                    <a:pt x="262491" y="717406"/>
                    <a:pt x="437626" y="717406"/>
                    <a:pt x="562000" y="619616"/>
                  </a:cubicBezTo>
                  <a:cubicBezTo>
                    <a:pt x="479209" y="554688"/>
                    <a:pt x="430905" y="455272"/>
                    <a:pt x="431031" y="350058"/>
                  </a:cubicBezTo>
                  <a:close/>
                </a:path>
              </a:pathLst>
            </a:custGeom>
            <a:solidFill>
              <a:srgbClr val="EB001B"/>
            </a:solidFill>
            <a:ln w="9525" cap="flat">
              <a:noFill/>
              <a:prstDash val="solid"/>
              <a:miter/>
            </a:ln>
          </p:spPr>
          <p:txBody>
            <a:bodyPr rtlCol="0" anchor="ctr"/>
            <a:lstStyle/>
            <a:p>
              <a:pPr lvl="0"/>
              <a:endParaRPr lang="en-US"/>
            </a:p>
          </p:txBody>
        </p:sp>
        <p:sp>
          <p:nvSpPr>
            <p:cNvPr id="17" name="Freeform: Shape 16">
              <a:extLst>
                <a:ext uri="{FF2B5EF4-FFF2-40B4-BE49-F238E27FC236}">
                  <a16:creationId xmlns:a16="http://schemas.microsoft.com/office/drawing/2014/main" id="{AF292F27-EB87-4FC0-9253-ED0366702A71}"/>
                </a:ext>
              </a:extLst>
            </p:cNvPr>
            <p:cNvSpPr/>
            <p:nvPr/>
          </p:nvSpPr>
          <p:spPr bwMode="gray">
            <a:xfrm>
              <a:off x="803719" y="1309321"/>
              <a:ext cx="561975" cy="695324"/>
            </a:xfrm>
            <a:custGeom>
              <a:avLst/>
              <a:gdLst>
                <a:gd name="connsiteX0" fmla="*/ 561880 w 561975"/>
                <a:gd name="connsiteY0" fmla="*/ 349975 h 695325"/>
                <a:gd name="connsiteX1" fmla="*/ 218897 w 561975"/>
                <a:gd name="connsiteY1" fmla="*/ 692793 h 695325"/>
                <a:gd name="connsiteX2" fmla="*/ 7144 w 561975"/>
                <a:gd name="connsiteY2" fmla="*/ 619533 h 695325"/>
                <a:gd name="connsiteX3" fmla="*/ 64760 w 561975"/>
                <a:gd name="connsiteY3" fmla="*/ 138034 h 695325"/>
                <a:gd name="connsiteX4" fmla="*/ 7144 w 561975"/>
                <a:gd name="connsiteY4" fmla="*/ 80418 h 695325"/>
                <a:gd name="connsiteX5" fmla="*/ 488620 w 561975"/>
                <a:gd name="connsiteY5" fmla="*/ 138222 h 695325"/>
                <a:gd name="connsiteX6" fmla="*/ 561880 w 561975"/>
                <a:gd name="connsiteY6" fmla="*/ 349975 h 695325"/>
                <a:gd name="connsiteX7" fmla="*/ 529209 w 561975"/>
                <a:gd name="connsiteY7" fmla="*/ 562478 h 695325"/>
                <a:gd name="connsiteX8" fmla="*/ 529209 w 561975"/>
                <a:gd name="connsiteY8" fmla="*/ 551429 h 695325"/>
                <a:gd name="connsiteX9" fmla="*/ 533686 w 561975"/>
                <a:gd name="connsiteY9" fmla="*/ 551429 h 695325"/>
                <a:gd name="connsiteX10" fmla="*/ 533686 w 561975"/>
                <a:gd name="connsiteY10" fmla="*/ 549143 h 695325"/>
                <a:gd name="connsiteX11" fmla="*/ 522446 w 561975"/>
                <a:gd name="connsiteY11" fmla="*/ 549143 h 695325"/>
                <a:gd name="connsiteX12" fmla="*/ 522446 w 561975"/>
                <a:gd name="connsiteY12" fmla="*/ 551429 h 695325"/>
                <a:gd name="connsiteX13" fmla="*/ 526828 w 561975"/>
                <a:gd name="connsiteY13" fmla="*/ 551429 h 695325"/>
                <a:gd name="connsiteX14" fmla="*/ 526828 w 561975"/>
                <a:gd name="connsiteY14" fmla="*/ 562478 h 695325"/>
                <a:gd name="connsiteX15" fmla="*/ 551212 w 561975"/>
                <a:gd name="connsiteY15" fmla="*/ 562478 h 695325"/>
                <a:gd name="connsiteX16" fmla="*/ 551212 w 561975"/>
                <a:gd name="connsiteY16" fmla="*/ 549143 h 695325"/>
                <a:gd name="connsiteX17" fmla="*/ 547687 w 561975"/>
                <a:gd name="connsiteY17" fmla="*/ 549143 h 695325"/>
                <a:gd name="connsiteX18" fmla="*/ 543687 w 561975"/>
                <a:gd name="connsiteY18" fmla="*/ 558668 h 695325"/>
                <a:gd name="connsiteX19" fmla="*/ 539686 w 561975"/>
                <a:gd name="connsiteY19" fmla="*/ 549143 h 695325"/>
                <a:gd name="connsiteX20" fmla="*/ 536258 w 561975"/>
                <a:gd name="connsiteY20" fmla="*/ 549143 h 695325"/>
                <a:gd name="connsiteX21" fmla="*/ 536258 w 561975"/>
                <a:gd name="connsiteY21" fmla="*/ 562478 h 695325"/>
                <a:gd name="connsiteX22" fmla="*/ 538734 w 561975"/>
                <a:gd name="connsiteY22" fmla="*/ 562478 h 695325"/>
                <a:gd name="connsiteX23" fmla="*/ 538734 w 561975"/>
                <a:gd name="connsiteY23" fmla="*/ 552382 h 695325"/>
                <a:gd name="connsiteX24" fmla="*/ 542449 w 561975"/>
                <a:gd name="connsiteY24" fmla="*/ 561049 h 695325"/>
                <a:gd name="connsiteX25" fmla="*/ 545020 w 561975"/>
                <a:gd name="connsiteY25" fmla="*/ 561049 h 695325"/>
                <a:gd name="connsiteX26" fmla="*/ 548735 w 561975"/>
                <a:gd name="connsiteY26" fmla="*/ 552382 h 695325"/>
                <a:gd name="connsiteX27" fmla="*/ 548735 w 561975"/>
                <a:gd name="connsiteY27" fmla="*/ 56247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61975" h="695325">
                  <a:moveTo>
                    <a:pt x="561880" y="349975"/>
                  </a:moveTo>
                  <a:cubicBezTo>
                    <a:pt x="561834" y="539354"/>
                    <a:pt x="408276" y="692838"/>
                    <a:pt x="218897" y="692793"/>
                  </a:cubicBezTo>
                  <a:cubicBezTo>
                    <a:pt x="142100" y="692774"/>
                    <a:pt x="67533" y="666976"/>
                    <a:pt x="7144" y="619533"/>
                  </a:cubicBezTo>
                  <a:cubicBezTo>
                    <a:pt x="156016" y="502481"/>
                    <a:pt x="181812" y="286906"/>
                    <a:pt x="64760" y="138034"/>
                  </a:cubicBezTo>
                  <a:cubicBezTo>
                    <a:pt x="47913" y="116607"/>
                    <a:pt x="28571" y="97265"/>
                    <a:pt x="7144" y="80418"/>
                  </a:cubicBezTo>
                  <a:cubicBezTo>
                    <a:pt x="156062" y="-36576"/>
                    <a:pt x="371626" y="-10696"/>
                    <a:pt x="488620" y="138222"/>
                  </a:cubicBezTo>
                  <a:cubicBezTo>
                    <a:pt x="536063" y="198612"/>
                    <a:pt x="561861" y="273179"/>
                    <a:pt x="561880" y="349975"/>
                  </a:cubicBezTo>
                  <a:close/>
                  <a:moveTo>
                    <a:pt x="529209" y="562478"/>
                  </a:moveTo>
                  <a:lnTo>
                    <a:pt x="529209" y="551429"/>
                  </a:lnTo>
                  <a:lnTo>
                    <a:pt x="533686" y="551429"/>
                  </a:lnTo>
                  <a:lnTo>
                    <a:pt x="533686" y="549143"/>
                  </a:lnTo>
                  <a:lnTo>
                    <a:pt x="522446" y="549143"/>
                  </a:lnTo>
                  <a:lnTo>
                    <a:pt x="522446" y="551429"/>
                  </a:lnTo>
                  <a:lnTo>
                    <a:pt x="526828" y="551429"/>
                  </a:lnTo>
                  <a:lnTo>
                    <a:pt x="526828" y="562478"/>
                  </a:lnTo>
                  <a:close/>
                  <a:moveTo>
                    <a:pt x="551212" y="562478"/>
                  </a:moveTo>
                  <a:lnTo>
                    <a:pt x="551212" y="549143"/>
                  </a:lnTo>
                  <a:lnTo>
                    <a:pt x="547687" y="549143"/>
                  </a:lnTo>
                  <a:lnTo>
                    <a:pt x="543687" y="558668"/>
                  </a:lnTo>
                  <a:lnTo>
                    <a:pt x="539686" y="549143"/>
                  </a:lnTo>
                  <a:lnTo>
                    <a:pt x="536258" y="549143"/>
                  </a:lnTo>
                  <a:lnTo>
                    <a:pt x="536258" y="562478"/>
                  </a:lnTo>
                  <a:lnTo>
                    <a:pt x="538734" y="562478"/>
                  </a:lnTo>
                  <a:lnTo>
                    <a:pt x="538734" y="552382"/>
                  </a:lnTo>
                  <a:lnTo>
                    <a:pt x="542449" y="561049"/>
                  </a:lnTo>
                  <a:lnTo>
                    <a:pt x="545020" y="561049"/>
                  </a:lnTo>
                  <a:lnTo>
                    <a:pt x="548735" y="552382"/>
                  </a:lnTo>
                  <a:lnTo>
                    <a:pt x="548735" y="562478"/>
                  </a:lnTo>
                  <a:close/>
                </a:path>
              </a:pathLst>
            </a:custGeom>
            <a:solidFill>
              <a:srgbClr val="F79E1B"/>
            </a:solid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1211675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Full Image">
    <p:bg bwMode="gray">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4"/>
          </p:nvPr>
        </p:nvSpPr>
        <p:spPr bwMode="gray"/>
        <p:txBody>
          <a:bodyPr/>
          <a:lstStyle/>
          <a:p>
            <a:fld id="{3AB2DB24-5BB4-4F1B-973E-A10FA63DFB9A}" type="slidenum">
              <a:rPr lang="en-US" smtClean="0"/>
              <a:pPr/>
              <a:t>‹#›</a:t>
            </a:fld>
            <a:endParaRPr lang="en-US"/>
          </a:p>
        </p:txBody>
      </p:sp>
      <p:sp>
        <p:nvSpPr>
          <p:cNvPr id="5" name="Footer Placeholder 4"/>
          <p:cNvSpPr>
            <a:spLocks noGrp="1"/>
          </p:cNvSpPr>
          <p:nvPr>
            <p:ph type="ftr" sz="quarter" idx="13"/>
          </p:nvPr>
        </p:nvSpPr>
        <p:spPr bwMode="gray"/>
        <p:txBody>
          <a:bodyPr/>
          <a:lstStyle/>
          <a:p>
            <a:endParaRPr lang="en-US"/>
          </a:p>
        </p:txBody>
      </p:sp>
      <p:sp>
        <p:nvSpPr>
          <p:cNvPr id="4" name="Date Placeholder 3"/>
          <p:cNvSpPr>
            <a:spLocks noGrp="1"/>
          </p:cNvSpPr>
          <p:nvPr>
            <p:ph type="dt" sz="half" idx="12"/>
          </p:nvPr>
        </p:nvSpPr>
        <p:spPr bwMode="gray"/>
        <p:txBody>
          <a:bodyPr/>
          <a:lstStyle/>
          <a:p>
            <a:r>
              <a:rPr lang="en-US"/>
              <a:t>February 15, 2024</a:t>
            </a:r>
          </a:p>
        </p:txBody>
      </p:sp>
      <p:sp>
        <p:nvSpPr>
          <p:cNvPr id="3" name="Picture Placeholder 2"/>
          <p:cNvSpPr>
            <a:spLocks noGrp="1"/>
          </p:cNvSpPr>
          <p:nvPr>
            <p:ph type="pic" sz="quarter" idx="11" hasCustomPrompt="1"/>
          </p:nvPr>
        </p:nvSpPr>
        <p:spPr bwMode="gray">
          <a:xfrm>
            <a:off x="0" y="1"/>
            <a:ext cx="9144000" cy="4563910"/>
          </a:xfrm>
        </p:spPr>
        <p:txBody>
          <a:bodyPr tIns="182880" rIns="91440" bIns="1005840" anchor="b" anchorCtr="0"/>
          <a:lstStyle>
            <a:lvl1pPr marL="0" indent="0" algn="ctr">
              <a:spcBef>
                <a:spcPts val="0"/>
              </a:spcBef>
              <a:buNone/>
              <a:defRPr>
                <a:solidFill>
                  <a:srgbClr val="B9B9B9"/>
                </a:solidFill>
                <a:latin typeface="+mn-lt"/>
              </a:defRPr>
            </a:lvl1pPr>
          </a:lstStyle>
          <a:p>
            <a:r>
              <a:rPr lang="en-US"/>
              <a:t>Click icon to add image.</a:t>
            </a:r>
            <a:br>
              <a:rPr lang="en-US"/>
            </a:br>
            <a:r>
              <a:rPr lang="en-US"/>
              <a:t>Get </a:t>
            </a:r>
            <a:r>
              <a:rPr lang="en-US" err="1"/>
              <a:t>Mastercard</a:t>
            </a:r>
            <a:r>
              <a:rPr lang="en-US"/>
              <a:t> approved photography and</a:t>
            </a:r>
            <a:br>
              <a:rPr lang="en-US"/>
            </a:br>
            <a:r>
              <a:rPr lang="en-US"/>
              <a:t>imagery guidelines at designcenter.mastercard.com.</a:t>
            </a:r>
          </a:p>
        </p:txBody>
      </p:sp>
      <p:sp>
        <p:nvSpPr>
          <p:cNvPr id="2" name="Title 1"/>
          <p:cNvSpPr>
            <a:spLocks noGrp="1"/>
          </p:cNvSpPr>
          <p:nvPr>
            <p:ph type="title"/>
          </p:nvPr>
        </p:nvSpPr>
        <p:spPr bwMode="gray">
          <a:xfrm>
            <a:off x="164594" y="192025"/>
            <a:ext cx="8412854" cy="535531"/>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3649195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ection Divider">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ext Placeholder 2"/>
          <p:cNvSpPr>
            <a:spLocks noGrp="1"/>
          </p:cNvSpPr>
          <p:nvPr>
            <p:ph type="body" idx="1" hasCustomPrompt="1"/>
          </p:nvPr>
        </p:nvSpPr>
        <p:spPr bwMode="gray">
          <a:xfrm>
            <a:off x="164593" y="292608"/>
            <a:ext cx="4198001" cy="321562"/>
          </a:xfrm>
        </p:spPr>
        <p:txBody>
          <a:bodyPr/>
          <a:lstStyle>
            <a:lvl1pPr marL="0" indent="0">
              <a:buNone/>
              <a:defRPr sz="1600" b="1">
                <a:solidFill>
                  <a:schemeClr val="tx1"/>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a:t>Click to add section number</a:t>
            </a:r>
          </a:p>
        </p:txBody>
      </p:sp>
      <p:sp>
        <p:nvSpPr>
          <p:cNvPr id="11" name="Title 1"/>
          <p:cNvSpPr>
            <a:spLocks noGrp="1"/>
          </p:cNvSpPr>
          <p:nvPr>
            <p:ph type="title" hasCustomPrompt="1"/>
          </p:nvPr>
        </p:nvSpPr>
        <p:spPr bwMode="gray">
          <a:xfrm>
            <a:off x="164594" y="725238"/>
            <a:ext cx="4198001" cy="1034129"/>
          </a:xfrm>
        </p:spPr>
        <p:txBody>
          <a:bodyPr anchor="t" anchorCtr="0"/>
          <a:lstStyle>
            <a:lvl1pPr>
              <a:defRPr sz="3400" b="0">
                <a:solidFill>
                  <a:schemeClr val="tx1"/>
                </a:solidFill>
                <a:latin typeface="Mark Offc For MC Extra Light" panose="020B0404020101010102" pitchFamily="34" charset="0"/>
              </a:defRPr>
            </a:lvl1pPr>
          </a:lstStyle>
          <a:p>
            <a:r>
              <a:rPr lang="en-US"/>
              <a:t>Click to add section title</a:t>
            </a:r>
          </a:p>
        </p:txBody>
      </p:sp>
      <p:grpSp>
        <p:nvGrpSpPr>
          <p:cNvPr id="8" name="Graphic 9">
            <a:extLst>
              <a:ext uri="{FF2B5EF4-FFF2-40B4-BE49-F238E27FC236}">
                <a16:creationId xmlns:a16="http://schemas.microsoft.com/office/drawing/2014/main" id="{FC7AEDB7-9474-4069-B4D4-90D81ACEA78B}"/>
              </a:ext>
            </a:extLst>
          </p:cNvPr>
          <p:cNvGrpSpPr>
            <a:grpSpLocks noChangeAspect="1"/>
          </p:cNvGrpSpPr>
          <p:nvPr userDrawn="1"/>
        </p:nvGrpSpPr>
        <p:grpSpPr bwMode="gray">
          <a:xfrm>
            <a:off x="8288899" y="258318"/>
            <a:ext cx="595440" cy="370757"/>
            <a:chOff x="248864" y="1309239"/>
            <a:chExt cx="1116830" cy="695406"/>
          </a:xfrm>
        </p:grpSpPr>
        <p:sp>
          <p:nvSpPr>
            <p:cNvPr id="9" name="Freeform: Shape 8">
              <a:extLst>
                <a:ext uri="{FF2B5EF4-FFF2-40B4-BE49-F238E27FC236}">
                  <a16:creationId xmlns:a16="http://schemas.microsoft.com/office/drawing/2014/main" id="{824F48FD-74BA-4822-AAA7-5023C048C43B}"/>
                </a:ext>
              </a:extLst>
            </p:cNvPr>
            <p:cNvSpPr/>
            <p:nvPr/>
          </p:nvSpPr>
          <p:spPr bwMode="gray">
            <a:xfrm>
              <a:off x="653702" y="1382595"/>
              <a:ext cx="314326" cy="552451"/>
            </a:xfrm>
            <a:custGeom>
              <a:avLst/>
              <a:gdLst>
                <a:gd name="connsiteX0" fmla="*/ 7144 w 314325"/>
                <a:gd name="connsiteY0" fmla="*/ 7144 h 552450"/>
                <a:gd name="connsiteX1" fmla="*/ 307181 w 314325"/>
                <a:gd name="connsiteY1" fmla="*/ 7144 h 552450"/>
                <a:gd name="connsiteX2" fmla="*/ 307181 w 314325"/>
                <a:gd name="connsiteY2" fmla="*/ 546354 h 552450"/>
                <a:gd name="connsiteX3" fmla="*/ 7144 w 314325"/>
                <a:gd name="connsiteY3" fmla="*/ 546354 h 552450"/>
              </a:gdLst>
              <a:ahLst/>
              <a:cxnLst>
                <a:cxn ang="0">
                  <a:pos x="connsiteX0" y="connsiteY0"/>
                </a:cxn>
                <a:cxn ang="0">
                  <a:pos x="connsiteX1" y="connsiteY1"/>
                </a:cxn>
                <a:cxn ang="0">
                  <a:pos x="connsiteX2" y="connsiteY2"/>
                </a:cxn>
                <a:cxn ang="0">
                  <a:pos x="connsiteX3" y="connsiteY3"/>
                </a:cxn>
              </a:cxnLst>
              <a:rect l="l" t="t" r="r" b="b"/>
              <a:pathLst>
                <a:path w="314325" h="552450">
                  <a:moveTo>
                    <a:pt x="7144" y="7144"/>
                  </a:moveTo>
                  <a:lnTo>
                    <a:pt x="307181" y="7144"/>
                  </a:lnTo>
                  <a:lnTo>
                    <a:pt x="307181" y="546354"/>
                  </a:lnTo>
                  <a:lnTo>
                    <a:pt x="7144" y="546354"/>
                  </a:lnTo>
                  <a:close/>
                </a:path>
              </a:pathLst>
            </a:custGeom>
            <a:solidFill>
              <a:srgbClr val="FF5F00"/>
            </a:solidFill>
            <a:ln w="9525" cap="flat">
              <a:noFill/>
              <a:prstDash val="solid"/>
              <a:miter/>
            </a:ln>
          </p:spPr>
          <p:txBody>
            <a:bodyPr rtlCol="0" anchor="ctr"/>
            <a:lstStyle/>
            <a:p>
              <a:pPr lvl="0"/>
              <a:endParaRPr lang="en-US"/>
            </a:p>
          </p:txBody>
        </p:sp>
        <p:sp>
          <p:nvSpPr>
            <p:cNvPr id="12" name="Freeform: Shape 11">
              <a:extLst>
                <a:ext uri="{FF2B5EF4-FFF2-40B4-BE49-F238E27FC236}">
                  <a16:creationId xmlns:a16="http://schemas.microsoft.com/office/drawing/2014/main" id="{7FF80409-8248-4F08-B70D-7CDEDBB80330}"/>
                </a:ext>
              </a:extLst>
            </p:cNvPr>
            <p:cNvSpPr/>
            <p:nvPr/>
          </p:nvSpPr>
          <p:spPr bwMode="gray">
            <a:xfrm>
              <a:off x="248864" y="1309239"/>
              <a:ext cx="561975" cy="695324"/>
            </a:xfrm>
            <a:custGeom>
              <a:avLst/>
              <a:gdLst>
                <a:gd name="connsiteX0" fmla="*/ 431031 w 561975"/>
                <a:gd name="connsiteY0" fmla="*/ 350058 h 695325"/>
                <a:gd name="connsiteX1" fmla="*/ 562000 w 561975"/>
                <a:gd name="connsiteY1" fmla="*/ 80501 h 695325"/>
                <a:gd name="connsiteX2" fmla="*/ 80501 w 561975"/>
                <a:gd name="connsiteY2" fmla="*/ 138117 h 695325"/>
                <a:gd name="connsiteX3" fmla="*/ 138117 w 561975"/>
                <a:gd name="connsiteY3" fmla="*/ 619616 h 695325"/>
                <a:gd name="connsiteX4" fmla="*/ 562000 w 561975"/>
                <a:gd name="connsiteY4" fmla="*/ 619616 h 695325"/>
                <a:gd name="connsiteX5" fmla="*/ 431031 w 561975"/>
                <a:gd name="connsiteY5" fmla="*/ 35005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975" h="695325">
                  <a:moveTo>
                    <a:pt x="431031" y="350058"/>
                  </a:moveTo>
                  <a:cubicBezTo>
                    <a:pt x="430905" y="244845"/>
                    <a:pt x="479209" y="145428"/>
                    <a:pt x="562000" y="80501"/>
                  </a:cubicBezTo>
                  <a:cubicBezTo>
                    <a:pt x="413127" y="-36551"/>
                    <a:pt x="197553" y="-10756"/>
                    <a:pt x="80501" y="138117"/>
                  </a:cubicBezTo>
                  <a:cubicBezTo>
                    <a:pt x="-36551" y="286989"/>
                    <a:pt x="-10756" y="502564"/>
                    <a:pt x="138117" y="619616"/>
                  </a:cubicBezTo>
                  <a:cubicBezTo>
                    <a:pt x="262491" y="717406"/>
                    <a:pt x="437626" y="717406"/>
                    <a:pt x="562000" y="619616"/>
                  </a:cubicBezTo>
                  <a:cubicBezTo>
                    <a:pt x="479209" y="554688"/>
                    <a:pt x="430905" y="455272"/>
                    <a:pt x="431031" y="350058"/>
                  </a:cubicBezTo>
                  <a:close/>
                </a:path>
              </a:pathLst>
            </a:custGeom>
            <a:solidFill>
              <a:srgbClr val="EB001B"/>
            </a:solidFill>
            <a:ln w="9525" cap="flat">
              <a:noFill/>
              <a:prstDash val="solid"/>
              <a:miter/>
            </a:ln>
          </p:spPr>
          <p:txBody>
            <a:bodyPr rtlCol="0" anchor="ctr"/>
            <a:lstStyle/>
            <a:p>
              <a:pPr lvl="0"/>
              <a:endParaRPr lang="en-US"/>
            </a:p>
          </p:txBody>
        </p:sp>
        <p:sp>
          <p:nvSpPr>
            <p:cNvPr id="17" name="Freeform: Shape 16">
              <a:extLst>
                <a:ext uri="{FF2B5EF4-FFF2-40B4-BE49-F238E27FC236}">
                  <a16:creationId xmlns:a16="http://schemas.microsoft.com/office/drawing/2014/main" id="{C4F2DFB3-402C-4089-890D-CDB8ABDAB783}"/>
                </a:ext>
              </a:extLst>
            </p:cNvPr>
            <p:cNvSpPr/>
            <p:nvPr/>
          </p:nvSpPr>
          <p:spPr bwMode="gray">
            <a:xfrm>
              <a:off x="803719" y="1309322"/>
              <a:ext cx="561975" cy="695323"/>
            </a:xfrm>
            <a:custGeom>
              <a:avLst/>
              <a:gdLst>
                <a:gd name="connsiteX0" fmla="*/ 561880 w 561975"/>
                <a:gd name="connsiteY0" fmla="*/ 349975 h 695325"/>
                <a:gd name="connsiteX1" fmla="*/ 218897 w 561975"/>
                <a:gd name="connsiteY1" fmla="*/ 692793 h 695325"/>
                <a:gd name="connsiteX2" fmla="*/ 7144 w 561975"/>
                <a:gd name="connsiteY2" fmla="*/ 619533 h 695325"/>
                <a:gd name="connsiteX3" fmla="*/ 64760 w 561975"/>
                <a:gd name="connsiteY3" fmla="*/ 138034 h 695325"/>
                <a:gd name="connsiteX4" fmla="*/ 7144 w 561975"/>
                <a:gd name="connsiteY4" fmla="*/ 80418 h 695325"/>
                <a:gd name="connsiteX5" fmla="*/ 488620 w 561975"/>
                <a:gd name="connsiteY5" fmla="*/ 138222 h 695325"/>
                <a:gd name="connsiteX6" fmla="*/ 561880 w 561975"/>
                <a:gd name="connsiteY6" fmla="*/ 349975 h 695325"/>
                <a:gd name="connsiteX7" fmla="*/ 529209 w 561975"/>
                <a:gd name="connsiteY7" fmla="*/ 562478 h 695325"/>
                <a:gd name="connsiteX8" fmla="*/ 529209 w 561975"/>
                <a:gd name="connsiteY8" fmla="*/ 551429 h 695325"/>
                <a:gd name="connsiteX9" fmla="*/ 533686 w 561975"/>
                <a:gd name="connsiteY9" fmla="*/ 551429 h 695325"/>
                <a:gd name="connsiteX10" fmla="*/ 533686 w 561975"/>
                <a:gd name="connsiteY10" fmla="*/ 549143 h 695325"/>
                <a:gd name="connsiteX11" fmla="*/ 522446 w 561975"/>
                <a:gd name="connsiteY11" fmla="*/ 549143 h 695325"/>
                <a:gd name="connsiteX12" fmla="*/ 522446 w 561975"/>
                <a:gd name="connsiteY12" fmla="*/ 551429 h 695325"/>
                <a:gd name="connsiteX13" fmla="*/ 526828 w 561975"/>
                <a:gd name="connsiteY13" fmla="*/ 551429 h 695325"/>
                <a:gd name="connsiteX14" fmla="*/ 526828 w 561975"/>
                <a:gd name="connsiteY14" fmla="*/ 562478 h 695325"/>
                <a:gd name="connsiteX15" fmla="*/ 551212 w 561975"/>
                <a:gd name="connsiteY15" fmla="*/ 562478 h 695325"/>
                <a:gd name="connsiteX16" fmla="*/ 551212 w 561975"/>
                <a:gd name="connsiteY16" fmla="*/ 549143 h 695325"/>
                <a:gd name="connsiteX17" fmla="*/ 547687 w 561975"/>
                <a:gd name="connsiteY17" fmla="*/ 549143 h 695325"/>
                <a:gd name="connsiteX18" fmla="*/ 543687 w 561975"/>
                <a:gd name="connsiteY18" fmla="*/ 558668 h 695325"/>
                <a:gd name="connsiteX19" fmla="*/ 539686 w 561975"/>
                <a:gd name="connsiteY19" fmla="*/ 549143 h 695325"/>
                <a:gd name="connsiteX20" fmla="*/ 536258 w 561975"/>
                <a:gd name="connsiteY20" fmla="*/ 549143 h 695325"/>
                <a:gd name="connsiteX21" fmla="*/ 536258 w 561975"/>
                <a:gd name="connsiteY21" fmla="*/ 562478 h 695325"/>
                <a:gd name="connsiteX22" fmla="*/ 538734 w 561975"/>
                <a:gd name="connsiteY22" fmla="*/ 562478 h 695325"/>
                <a:gd name="connsiteX23" fmla="*/ 538734 w 561975"/>
                <a:gd name="connsiteY23" fmla="*/ 552382 h 695325"/>
                <a:gd name="connsiteX24" fmla="*/ 542449 w 561975"/>
                <a:gd name="connsiteY24" fmla="*/ 561049 h 695325"/>
                <a:gd name="connsiteX25" fmla="*/ 545020 w 561975"/>
                <a:gd name="connsiteY25" fmla="*/ 561049 h 695325"/>
                <a:gd name="connsiteX26" fmla="*/ 548735 w 561975"/>
                <a:gd name="connsiteY26" fmla="*/ 552382 h 695325"/>
                <a:gd name="connsiteX27" fmla="*/ 548735 w 561975"/>
                <a:gd name="connsiteY27" fmla="*/ 56247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61975" h="695325">
                  <a:moveTo>
                    <a:pt x="561880" y="349975"/>
                  </a:moveTo>
                  <a:cubicBezTo>
                    <a:pt x="561834" y="539354"/>
                    <a:pt x="408276" y="692838"/>
                    <a:pt x="218897" y="692793"/>
                  </a:cubicBezTo>
                  <a:cubicBezTo>
                    <a:pt x="142100" y="692774"/>
                    <a:pt x="67533" y="666976"/>
                    <a:pt x="7144" y="619533"/>
                  </a:cubicBezTo>
                  <a:cubicBezTo>
                    <a:pt x="156016" y="502481"/>
                    <a:pt x="181812" y="286906"/>
                    <a:pt x="64760" y="138034"/>
                  </a:cubicBezTo>
                  <a:cubicBezTo>
                    <a:pt x="47913" y="116607"/>
                    <a:pt x="28571" y="97265"/>
                    <a:pt x="7144" y="80418"/>
                  </a:cubicBezTo>
                  <a:cubicBezTo>
                    <a:pt x="156062" y="-36576"/>
                    <a:pt x="371626" y="-10696"/>
                    <a:pt x="488620" y="138222"/>
                  </a:cubicBezTo>
                  <a:cubicBezTo>
                    <a:pt x="536063" y="198612"/>
                    <a:pt x="561861" y="273179"/>
                    <a:pt x="561880" y="349975"/>
                  </a:cubicBezTo>
                  <a:close/>
                  <a:moveTo>
                    <a:pt x="529209" y="562478"/>
                  </a:moveTo>
                  <a:lnTo>
                    <a:pt x="529209" y="551429"/>
                  </a:lnTo>
                  <a:lnTo>
                    <a:pt x="533686" y="551429"/>
                  </a:lnTo>
                  <a:lnTo>
                    <a:pt x="533686" y="549143"/>
                  </a:lnTo>
                  <a:lnTo>
                    <a:pt x="522446" y="549143"/>
                  </a:lnTo>
                  <a:lnTo>
                    <a:pt x="522446" y="551429"/>
                  </a:lnTo>
                  <a:lnTo>
                    <a:pt x="526828" y="551429"/>
                  </a:lnTo>
                  <a:lnTo>
                    <a:pt x="526828" y="562478"/>
                  </a:lnTo>
                  <a:close/>
                  <a:moveTo>
                    <a:pt x="551212" y="562478"/>
                  </a:moveTo>
                  <a:lnTo>
                    <a:pt x="551212" y="549143"/>
                  </a:lnTo>
                  <a:lnTo>
                    <a:pt x="547687" y="549143"/>
                  </a:lnTo>
                  <a:lnTo>
                    <a:pt x="543687" y="558668"/>
                  </a:lnTo>
                  <a:lnTo>
                    <a:pt x="539686" y="549143"/>
                  </a:lnTo>
                  <a:lnTo>
                    <a:pt x="536258" y="549143"/>
                  </a:lnTo>
                  <a:lnTo>
                    <a:pt x="536258" y="562478"/>
                  </a:lnTo>
                  <a:lnTo>
                    <a:pt x="538734" y="562478"/>
                  </a:lnTo>
                  <a:lnTo>
                    <a:pt x="538734" y="552382"/>
                  </a:lnTo>
                  <a:lnTo>
                    <a:pt x="542449" y="561049"/>
                  </a:lnTo>
                  <a:lnTo>
                    <a:pt x="545020" y="561049"/>
                  </a:lnTo>
                  <a:lnTo>
                    <a:pt x="548735" y="552382"/>
                  </a:lnTo>
                  <a:lnTo>
                    <a:pt x="548735" y="562478"/>
                  </a:lnTo>
                  <a:close/>
                </a:path>
              </a:pathLst>
            </a:custGeom>
            <a:solidFill>
              <a:srgbClr val="F79E1B"/>
            </a:solid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15756377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ection Divider Graphic - Dark">
    <p:bg bwMode="gray">
      <p:bgPr>
        <a:solidFill>
          <a:srgbClr val="242423"/>
        </a:solidFill>
        <a:effectLst/>
      </p:bgPr>
    </p:bg>
    <p:spTree>
      <p:nvGrpSpPr>
        <p:cNvPr id="1" name=""/>
        <p:cNvGrpSpPr/>
        <p:nvPr/>
      </p:nvGrpSpPr>
      <p:grpSpPr>
        <a:xfrm>
          <a:off x="0" y="0"/>
          <a:ext cx="0" cy="0"/>
          <a:chOff x="0" y="0"/>
          <a:chExt cx="0" cy="0"/>
        </a:xfrm>
      </p:grpSpPr>
      <p:sp>
        <p:nvSpPr>
          <p:cNvPr id="13" name="Text Placeholder 2"/>
          <p:cNvSpPr>
            <a:spLocks noGrp="1"/>
          </p:cNvSpPr>
          <p:nvPr>
            <p:ph type="body" idx="1" hasCustomPrompt="1"/>
          </p:nvPr>
        </p:nvSpPr>
        <p:spPr bwMode="gray">
          <a:xfrm>
            <a:off x="164593" y="292608"/>
            <a:ext cx="4198001" cy="321562"/>
          </a:xfrm>
        </p:spPr>
        <p:txBody>
          <a:bodyPr/>
          <a:lstStyle>
            <a:lvl1pPr marL="0" indent="0">
              <a:buNone/>
              <a:defRPr sz="1600" b="1">
                <a:solidFill>
                  <a:srgbClr val="FFFFFF"/>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a:t>Click to add section number</a:t>
            </a:r>
          </a:p>
        </p:txBody>
      </p:sp>
      <p:sp>
        <p:nvSpPr>
          <p:cNvPr id="2" name="Title 1"/>
          <p:cNvSpPr>
            <a:spLocks noGrp="1"/>
          </p:cNvSpPr>
          <p:nvPr>
            <p:ph type="title" hasCustomPrompt="1"/>
          </p:nvPr>
        </p:nvSpPr>
        <p:spPr bwMode="gray">
          <a:xfrm>
            <a:off x="164594" y="723696"/>
            <a:ext cx="4198001" cy="1034129"/>
          </a:xfrm>
        </p:spPr>
        <p:txBody>
          <a:bodyPr anchor="t" anchorCtr="0"/>
          <a:lstStyle>
            <a:lvl1pPr>
              <a:defRPr sz="3400" b="0">
                <a:solidFill>
                  <a:srgbClr val="FFFFFF"/>
                </a:solidFill>
                <a:latin typeface="Mark Offc For MC Extra Light" panose="020B0404020101010102" pitchFamily="34" charset="0"/>
              </a:defRPr>
            </a:lvl1pPr>
          </a:lstStyle>
          <a:p>
            <a:r>
              <a:rPr lang="en-US"/>
              <a:t>Click to add section title</a:t>
            </a:r>
          </a:p>
        </p:txBody>
      </p:sp>
      <p:grpSp>
        <p:nvGrpSpPr>
          <p:cNvPr id="12" name="Graphic 9">
            <a:extLst>
              <a:ext uri="{FF2B5EF4-FFF2-40B4-BE49-F238E27FC236}">
                <a16:creationId xmlns:a16="http://schemas.microsoft.com/office/drawing/2014/main" id="{835165F6-C617-48D4-88BD-8DAB507BC64F}"/>
              </a:ext>
            </a:extLst>
          </p:cNvPr>
          <p:cNvGrpSpPr>
            <a:grpSpLocks noChangeAspect="1"/>
          </p:cNvGrpSpPr>
          <p:nvPr userDrawn="1"/>
        </p:nvGrpSpPr>
        <p:grpSpPr bwMode="gray">
          <a:xfrm>
            <a:off x="8288899" y="258318"/>
            <a:ext cx="595440" cy="370757"/>
            <a:chOff x="248864" y="1309239"/>
            <a:chExt cx="1116830" cy="695406"/>
          </a:xfrm>
        </p:grpSpPr>
        <p:sp>
          <p:nvSpPr>
            <p:cNvPr id="14" name="Freeform: Shape 13">
              <a:extLst>
                <a:ext uri="{FF2B5EF4-FFF2-40B4-BE49-F238E27FC236}">
                  <a16:creationId xmlns:a16="http://schemas.microsoft.com/office/drawing/2014/main" id="{325E62B0-9698-40CD-98C6-5E76706D8EEE}"/>
                </a:ext>
              </a:extLst>
            </p:cNvPr>
            <p:cNvSpPr/>
            <p:nvPr/>
          </p:nvSpPr>
          <p:spPr bwMode="gray">
            <a:xfrm>
              <a:off x="653702" y="1382595"/>
              <a:ext cx="314326" cy="552451"/>
            </a:xfrm>
            <a:custGeom>
              <a:avLst/>
              <a:gdLst>
                <a:gd name="connsiteX0" fmla="*/ 7144 w 314325"/>
                <a:gd name="connsiteY0" fmla="*/ 7144 h 552450"/>
                <a:gd name="connsiteX1" fmla="*/ 307181 w 314325"/>
                <a:gd name="connsiteY1" fmla="*/ 7144 h 552450"/>
                <a:gd name="connsiteX2" fmla="*/ 307181 w 314325"/>
                <a:gd name="connsiteY2" fmla="*/ 546354 h 552450"/>
                <a:gd name="connsiteX3" fmla="*/ 7144 w 314325"/>
                <a:gd name="connsiteY3" fmla="*/ 546354 h 552450"/>
              </a:gdLst>
              <a:ahLst/>
              <a:cxnLst>
                <a:cxn ang="0">
                  <a:pos x="connsiteX0" y="connsiteY0"/>
                </a:cxn>
                <a:cxn ang="0">
                  <a:pos x="connsiteX1" y="connsiteY1"/>
                </a:cxn>
                <a:cxn ang="0">
                  <a:pos x="connsiteX2" y="connsiteY2"/>
                </a:cxn>
                <a:cxn ang="0">
                  <a:pos x="connsiteX3" y="connsiteY3"/>
                </a:cxn>
              </a:cxnLst>
              <a:rect l="l" t="t" r="r" b="b"/>
              <a:pathLst>
                <a:path w="314325" h="552450">
                  <a:moveTo>
                    <a:pt x="7144" y="7144"/>
                  </a:moveTo>
                  <a:lnTo>
                    <a:pt x="307181" y="7144"/>
                  </a:lnTo>
                  <a:lnTo>
                    <a:pt x="307181" y="546354"/>
                  </a:lnTo>
                  <a:lnTo>
                    <a:pt x="7144" y="546354"/>
                  </a:lnTo>
                  <a:close/>
                </a:path>
              </a:pathLst>
            </a:custGeom>
            <a:solidFill>
              <a:srgbClr val="FF5F00"/>
            </a:solidFill>
            <a:ln w="9525" cap="flat">
              <a:noFill/>
              <a:prstDash val="solid"/>
              <a:miter/>
            </a:ln>
          </p:spPr>
          <p:txBody>
            <a:bodyPr rtlCol="0" anchor="ctr"/>
            <a:lstStyle/>
            <a:p>
              <a:pPr lvl="0"/>
              <a:endParaRPr lang="en-US"/>
            </a:p>
          </p:txBody>
        </p:sp>
        <p:sp>
          <p:nvSpPr>
            <p:cNvPr id="15" name="Freeform: Shape 14">
              <a:extLst>
                <a:ext uri="{FF2B5EF4-FFF2-40B4-BE49-F238E27FC236}">
                  <a16:creationId xmlns:a16="http://schemas.microsoft.com/office/drawing/2014/main" id="{551BD7A6-CF8A-491C-A7B1-3AC7F0BAC2CD}"/>
                </a:ext>
              </a:extLst>
            </p:cNvPr>
            <p:cNvSpPr/>
            <p:nvPr/>
          </p:nvSpPr>
          <p:spPr bwMode="gray">
            <a:xfrm>
              <a:off x="248864" y="1309239"/>
              <a:ext cx="561975" cy="695324"/>
            </a:xfrm>
            <a:custGeom>
              <a:avLst/>
              <a:gdLst>
                <a:gd name="connsiteX0" fmla="*/ 431031 w 561975"/>
                <a:gd name="connsiteY0" fmla="*/ 350058 h 695325"/>
                <a:gd name="connsiteX1" fmla="*/ 562000 w 561975"/>
                <a:gd name="connsiteY1" fmla="*/ 80501 h 695325"/>
                <a:gd name="connsiteX2" fmla="*/ 80501 w 561975"/>
                <a:gd name="connsiteY2" fmla="*/ 138117 h 695325"/>
                <a:gd name="connsiteX3" fmla="*/ 138117 w 561975"/>
                <a:gd name="connsiteY3" fmla="*/ 619616 h 695325"/>
                <a:gd name="connsiteX4" fmla="*/ 562000 w 561975"/>
                <a:gd name="connsiteY4" fmla="*/ 619616 h 695325"/>
                <a:gd name="connsiteX5" fmla="*/ 431031 w 561975"/>
                <a:gd name="connsiteY5" fmla="*/ 35005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975" h="695325">
                  <a:moveTo>
                    <a:pt x="431031" y="350058"/>
                  </a:moveTo>
                  <a:cubicBezTo>
                    <a:pt x="430905" y="244845"/>
                    <a:pt x="479209" y="145428"/>
                    <a:pt x="562000" y="80501"/>
                  </a:cubicBezTo>
                  <a:cubicBezTo>
                    <a:pt x="413127" y="-36551"/>
                    <a:pt x="197553" y="-10756"/>
                    <a:pt x="80501" y="138117"/>
                  </a:cubicBezTo>
                  <a:cubicBezTo>
                    <a:pt x="-36551" y="286989"/>
                    <a:pt x="-10756" y="502564"/>
                    <a:pt x="138117" y="619616"/>
                  </a:cubicBezTo>
                  <a:cubicBezTo>
                    <a:pt x="262491" y="717406"/>
                    <a:pt x="437626" y="717406"/>
                    <a:pt x="562000" y="619616"/>
                  </a:cubicBezTo>
                  <a:cubicBezTo>
                    <a:pt x="479209" y="554688"/>
                    <a:pt x="430905" y="455272"/>
                    <a:pt x="431031" y="350058"/>
                  </a:cubicBezTo>
                  <a:close/>
                </a:path>
              </a:pathLst>
            </a:custGeom>
            <a:solidFill>
              <a:srgbClr val="EB001B"/>
            </a:solidFill>
            <a:ln w="9525" cap="flat">
              <a:noFill/>
              <a:prstDash val="solid"/>
              <a:miter/>
            </a:ln>
          </p:spPr>
          <p:txBody>
            <a:bodyPr rtlCol="0" anchor="ctr"/>
            <a:lstStyle/>
            <a:p>
              <a:pPr lvl="0"/>
              <a:endParaRPr lang="en-US"/>
            </a:p>
          </p:txBody>
        </p:sp>
        <p:sp>
          <p:nvSpPr>
            <p:cNvPr id="16" name="Freeform: Shape 15">
              <a:extLst>
                <a:ext uri="{FF2B5EF4-FFF2-40B4-BE49-F238E27FC236}">
                  <a16:creationId xmlns:a16="http://schemas.microsoft.com/office/drawing/2014/main" id="{182A0427-CDA9-4104-80E0-62E1A331DB94}"/>
                </a:ext>
              </a:extLst>
            </p:cNvPr>
            <p:cNvSpPr/>
            <p:nvPr/>
          </p:nvSpPr>
          <p:spPr bwMode="gray">
            <a:xfrm>
              <a:off x="803719" y="1309321"/>
              <a:ext cx="561975" cy="695324"/>
            </a:xfrm>
            <a:custGeom>
              <a:avLst/>
              <a:gdLst>
                <a:gd name="connsiteX0" fmla="*/ 561880 w 561975"/>
                <a:gd name="connsiteY0" fmla="*/ 349975 h 695325"/>
                <a:gd name="connsiteX1" fmla="*/ 218897 w 561975"/>
                <a:gd name="connsiteY1" fmla="*/ 692793 h 695325"/>
                <a:gd name="connsiteX2" fmla="*/ 7144 w 561975"/>
                <a:gd name="connsiteY2" fmla="*/ 619533 h 695325"/>
                <a:gd name="connsiteX3" fmla="*/ 64760 w 561975"/>
                <a:gd name="connsiteY3" fmla="*/ 138034 h 695325"/>
                <a:gd name="connsiteX4" fmla="*/ 7144 w 561975"/>
                <a:gd name="connsiteY4" fmla="*/ 80418 h 695325"/>
                <a:gd name="connsiteX5" fmla="*/ 488620 w 561975"/>
                <a:gd name="connsiteY5" fmla="*/ 138222 h 695325"/>
                <a:gd name="connsiteX6" fmla="*/ 561880 w 561975"/>
                <a:gd name="connsiteY6" fmla="*/ 349975 h 695325"/>
                <a:gd name="connsiteX7" fmla="*/ 529209 w 561975"/>
                <a:gd name="connsiteY7" fmla="*/ 562478 h 695325"/>
                <a:gd name="connsiteX8" fmla="*/ 529209 w 561975"/>
                <a:gd name="connsiteY8" fmla="*/ 551429 h 695325"/>
                <a:gd name="connsiteX9" fmla="*/ 533686 w 561975"/>
                <a:gd name="connsiteY9" fmla="*/ 551429 h 695325"/>
                <a:gd name="connsiteX10" fmla="*/ 533686 w 561975"/>
                <a:gd name="connsiteY10" fmla="*/ 549143 h 695325"/>
                <a:gd name="connsiteX11" fmla="*/ 522446 w 561975"/>
                <a:gd name="connsiteY11" fmla="*/ 549143 h 695325"/>
                <a:gd name="connsiteX12" fmla="*/ 522446 w 561975"/>
                <a:gd name="connsiteY12" fmla="*/ 551429 h 695325"/>
                <a:gd name="connsiteX13" fmla="*/ 526828 w 561975"/>
                <a:gd name="connsiteY13" fmla="*/ 551429 h 695325"/>
                <a:gd name="connsiteX14" fmla="*/ 526828 w 561975"/>
                <a:gd name="connsiteY14" fmla="*/ 562478 h 695325"/>
                <a:gd name="connsiteX15" fmla="*/ 551212 w 561975"/>
                <a:gd name="connsiteY15" fmla="*/ 562478 h 695325"/>
                <a:gd name="connsiteX16" fmla="*/ 551212 w 561975"/>
                <a:gd name="connsiteY16" fmla="*/ 549143 h 695325"/>
                <a:gd name="connsiteX17" fmla="*/ 547687 w 561975"/>
                <a:gd name="connsiteY17" fmla="*/ 549143 h 695325"/>
                <a:gd name="connsiteX18" fmla="*/ 543687 w 561975"/>
                <a:gd name="connsiteY18" fmla="*/ 558668 h 695325"/>
                <a:gd name="connsiteX19" fmla="*/ 539686 w 561975"/>
                <a:gd name="connsiteY19" fmla="*/ 549143 h 695325"/>
                <a:gd name="connsiteX20" fmla="*/ 536258 w 561975"/>
                <a:gd name="connsiteY20" fmla="*/ 549143 h 695325"/>
                <a:gd name="connsiteX21" fmla="*/ 536258 w 561975"/>
                <a:gd name="connsiteY21" fmla="*/ 562478 h 695325"/>
                <a:gd name="connsiteX22" fmla="*/ 538734 w 561975"/>
                <a:gd name="connsiteY22" fmla="*/ 562478 h 695325"/>
                <a:gd name="connsiteX23" fmla="*/ 538734 w 561975"/>
                <a:gd name="connsiteY23" fmla="*/ 552382 h 695325"/>
                <a:gd name="connsiteX24" fmla="*/ 542449 w 561975"/>
                <a:gd name="connsiteY24" fmla="*/ 561049 h 695325"/>
                <a:gd name="connsiteX25" fmla="*/ 545020 w 561975"/>
                <a:gd name="connsiteY25" fmla="*/ 561049 h 695325"/>
                <a:gd name="connsiteX26" fmla="*/ 548735 w 561975"/>
                <a:gd name="connsiteY26" fmla="*/ 552382 h 695325"/>
                <a:gd name="connsiteX27" fmla="*/ 548735 w 561975"/>
                <a:gd name="connsiteY27" fmla="*/ 56247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61975" h="695325">
                  <a:moveTo>
                    <a:pt x="561880" y="349975"/>
                  </a:moveTo>
                  <a:cubicBezTo>
                    <a:pt x="561834" y="539354"/>
                    <a:pt x="408276" y="692838"/>
                    <a:pt x="218897" y="692793"/>
                  </a:cubicBezTo>
                  <a:cubicBezTo>
                    <a:pt x="142100" y="692774"/>
                    <a:pt x="67533" y="666976"/>
                    <a:pt x="7144" y="619533"/>
                  </a:cubicBezTo>
                  <a:cubicBezTo>
                    <a:pt x="156016" y="502481"/>
                    <a:pt x="181812" y="286906"/>
                    <a:pt x="64760" y="138034"/>
                  </a:cubicBezTo>
                  <a:cubicBezTo>
                    <a:pt x="47913" y="116607"/>
                    <a:pt x="28571" y="97265"/>
                    <a:pt x="7144" y="80418"/>
                  </a:cubicBezTo>
                  <a:cubicBezTo>
                    <a:pt x="156062" y="-36576"/>
                    <a:pt x="371626" y="-10696"/>
                    <a:pt x="488620" y="138222"/>
                  </a:cubicBezTo>
                  <a:cubicBezTo>
                    <a:pt x="536063" y="198612"/>
                    <a:pt x="561861" y="273179"/>
                    <a:pt x="561880" y="349975"/>
                  </a:cubicBezTo>
                  <a:close/>
                  <a:moveTo>
                    <a:pt x="529209" y="562478"/>
                  </a:moveTo>
                  <a:lnTo>
                    <a:pt x="529209" y="551429"/>
                  </a:lnTo>
                  <a:lnTo>
                    <a:pt x="533686" y="551429"/>
                  </a:lnTo>
                  <a:lnTo>
                    <a:pt x="533686" y="549143"/>
                  </a:lnTo>
                  <a:lnTo>
                    <a:pt x="522446" y="549143"/>
                  </a:lnTo>
                  <a:lnTo>
                    <a:pt x="522446" y="551429"/>
                  </a:lnTo>
                  <a:lnTo>
                    <a:pt x="526828" y="551429"/>
                  </a:lnTo>
                  <a:lnTo>
                    <a:pt x="526828" y="562478"/>
                  </a:lnTo>
                  <a:close/>
                  <a:moveTo>
                    <a:pt x="551212" y="562478"/>
                  </a:moveTo>
                  <a:lnTo>
                    <a:pt x="551212" y="549143"/>
                  </a:lnTo>
                  <a:lnTo>
                    <a:pt x="547687" y="549143"/>
                  </a:lnTo>
                  <a:lnTo>
                    <a:pt x="543687" y="558668"/>
                  </a:lnTo>
                  <a:lnTo>
                    <a:pt x="539686" y="549143"/>
                  </a:lnTo>
                  <a:lnTo>
                    <a:pt x="536258" y="549143"/>
                  </a:lnTo>
                  <a:lnTo>
                    <a:pt x="536258" y="562478"/>
                  </a:lnTo>
                  <a:lnTo>
                    <a:pt x="538734" y="562478"/>
                  </a:lnTo>
                  <a:lnTo>
                    <a:pt x="538734" y="552382"/>
                  </a:lnTo>
                  <a:lnTo>
                    <a:pt x="542449" y="561049"/>
                  </a:lnTo>
                  <a:lnTo>
                    <a:pt x="545020" y="561049"/>
                  </a:lnTo>
                  <a:lnTo>
                    <a:pt x="548735" y="552382"/>
                  </a:lnTo>
                  <a:lnTo>
                    <a:pt x="548735" y="562478"/>
                  </a:lnTo>
                  <a:close/>
                </a:path>
              </a:pathLst>
            </a:custGeom>
            <a:solidFill>
              <a:srgbClr val="F79E1B"/>
            </a:solid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19793296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Section Divider Graphic - Light">
    <p:bg bwMode="gray">
      <p:bgPr>
        <a:solidFill>
          <a:schemeClr val="bg1"/>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hasCustomPrompt="1"/>
          </p:nvPr>
        </p:nvSpPr>
        <p:spPr bwMode="gray">
          <a:xfrm>
            <a:off x="164593" y="292608"/>
            <a:ext cx="4198001" cy="321562"/>
          </a:xfrm>
        </p:spPr>
        <p:txBody>
          <a:bodyPr/>
          <a:lstStyle>
            <a:lvl1pPr marL="0" indent="0">
              <a:buNone/>
              <a:defRPr sz="1600" b="1">
                <a:solidFill>
                  <a:schemeClr val="tx1"/>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a:t>Click to add section number</a:t>
            </a:r>
          </a:p>
        </p:txBody>
      </p:sp>
      <p:sp>
        <p:nvSpPr>
          <p:cNvPr id="2" name="Title 1"/>
          <p:cNvSpPr>
            <a:spLocks noGrp="1"/>
          </p:cNvSpPr>
          <p:nvPr>
            <p:ph type="title" hasCustomPrompt="1"/>
          </p:nvPr>
        </p:nvSpPr>
        <p:spPr bwMode="gray">
          <a:xfrm>
            <a:off x="164594" y="726671"/>
            <a:ext cx="4198001" cy="1034129"/>
          </a:xfrm>
        </p:spPr>
        <p:txBody>
          <a:bodyPr anchor="t" anchorCtr="0"/>
          <a:lstStyle>
            <a:lvl1pPr>
              <a:defRPr sz="3400" b="0">
                <a:solidFill>
                  <a:schemeClr val="tx1"/>
                </a:solidFill>
                <a:latin typeface="Mark Offc For MC Extra Light" panose="020B0404020101010102" pitchFamily="34" charset="0"/>
              </a:defRPr>
            </a:lvl1pPr>
          </a:lstStyle>
          <a:p>
            <a:r>
              <a:rPr lang="en-US"/>
              <a:t>Click to add section title</a:t>
            </a:r>
          </a:p>
        </p:txBody>
      </p:sp>
      <p:grpSp>
        <p:nvGrpSpPr>
          <p:cNvPr id="12" name="Graphic 9">
            <a:extLst>
              <a:ext uri="{FF2B5EF4-FFF2-40B4-BE49-F238E27FC236}">
                <a16:creationId xmlns:a16="http://schemas.microsoft.com/office/drawing/2014/main" id="{B96E7C20-9D5B-4B22-8E28-AA0C8A79B1D5}"/>
              </a:ext>
            </a:extLst>
          </p:cNvPr>
          <p:cNvGrpSpPr>
            <a:grpSpLocks noChangeAspect="1"/>
          </p:cNvGrpSpPr>
          <p:nvPr userDrawn="1"/>
        </p:nvGrpSpPr>
        <p:grpSpPr bwMode="gray">
          <a:xfrm>
            <a:off x="8288899" y="258318"/>
            <a:ext cx="595440" cy="370757"/>
            <a:chOff x="248864" y="1309239"/>
            <a:chExt cx="1116830" cy="695406"/>
          </a:xfrm>
        </p:grpSpPr>
        <p:sp>
          <p:nvSpPr>
            <p:cNvPr id="13" name="Freeform: Shape 12">
              <a:extLst>
                <a:ext uri="{FF2B5EF4-FFF2-40B4-BE49-F238E27FC236}">
                  <a16:creationId xmlns:a16="http://schemas.microsoft.com/office/drawing/2014/main" id="{D917C018-D808-4F4A-89EC-7FB08C50DEC6}"/>
                </a:ext>
              </a:extLst>
            </p:cNvPr>
            <p:cNvSpPr/>
            <p:nvPr/>
          </p:nvSpPr>
          <p:spPr bwMode="gray">
            <a:xfrm>
              <a:off x="653702" y="1382595"/>
              <a:ext cx="314326" cy="552451"/>
            </a:xfrm>
            <a:custGeom>
              <a:avLst/>
              <a:gdLst>
                <a:gd name="connsiteX0" fmla="*/ 7144 w 314325"/>
                <a:gd name="connsiteY0" fmla="*/ 7144 h 552450"/>
                <a:gd name="connsiteX1" fmla="*/ 307181 w 314325"/>
                <a:gd name="connsiteY1" fmla="*/ 7144 h 552450"/>
                <a:gd name="connsiteX2" fmla="*/ 307181 w 314325"/>
                <a:gd name="connsiteY2" fmla="*/ 546354 h 552450"/>
                <a:gd name="connsiteX3" fmla="*/ 7144 w 314325"/>
                <a:gd name="connsiteY3" fmla="*/ 546354 h 552450"/>
              </a:gdLst>
              <a:ahLst/>
              <a:cxnLst>
                <a:cxn ang="0">
                  <a:pos x="connsiteX0" y="connsiteY0"/>
                </a:cxn>
                <a:cxn ang="0">
                  <a:pos x="connsiteX1" y="connsiteY1"/>
                </a:cxn>
                <a:cxn ang="0">
                  <a:pos x="connsiteX2" y="connsiteY2"/>
                </a:cxn>
                <a:cxn ang="0">
                  <a:pos x="connsiteX3" y="connsiteY3"/>
                </a:cxn>
              </a:cxnLst>
              <a:rect l="l" t="t" r="r" b="b"/>
              <a:pathLst>
                <a:path w="314325" h="552450">
                  <a:moveTo>
                    <a:pt x="7144" y="7144"/>
                  </a:moveTo>
                  <a:lnTo>
                    <a:pt x="307181" y="7144"/>
                  </a:lnTo>
                  <a:lnTo>
                    <a:pt x="307181" y="546354"/>
                  </a:lnTo>
                  <a:lnTo>
                    <a:pt x="7144" y="546354"/>
                  </a:lnTo>
                  <a:close/>
                </a:path>
              </a:pathLst>
            </a:custGeom>
            <a:solidFill>
              <a:srgbClr val="FF5F00"/>
            </a:solidFill>
            <a:ln w="9525" cap="flat">
              <a:noFill/>
              <a:prstDash val="solid"/>
              <a:miter/>
            </a:ln>
          </p:spPr>
          <p:txBody>
            <a:bodyPr rtlCol="0" anchor="ctr"/>
            <a:lstStyle/>
            <a:p>
              <a:pPr lvl="0"/>
              <a:endParaRPr lang="en-US"/>
            </a:p>
          </p:txBody>
        </p:sp>
        <p:sp>
          <p:nvSpPr>
            <p:cNvPr id="14" name="Freeform: Shape 13">
              <a:extLst>
                <a:ext uri="{FF2B5EF4-FFF2-40B4-BE49-F238E27FC236}">
                  <a16:creationId xmlns:a16="http://schemas.microsoft.com/office/drawing/2014/main" id="{8A234C8A-EDFE-44F9-B336-B874D8FBCFF4}"/>
                </a:ext>
              </a:extLst>
            </p:cNvPr>
            <p:cNvSpPr/>
            <p:nvPr/>
          </p:nvSpPr>
          <p:spPr bwMode="gray">
            <a:xfrm>
              <a:off x="248864" y="1309239"/>
              <a:ext cx="561975" cy="695324"/>
            </a:xfrm>
            <a:custGeom>
              <a:avLst/>
              <a:gdLst>
                <a:gd name="connsiteX0" fmla="*/ 431031 w 561975"/>
                <a:gd name="connsiteY0" fmla="*/ 350058 h 695325"/>
                <a:gd name="connsiteX1" fmla="*/ 562000 w 561975"/>
                <a:gd name="connsiteY1" fmla="*/ 80501 h 695325"/>
                <a:gd name="connsiteX2" fmla="*/ 80501 w 561975"/>
                <a:gd name="connsiteY2" fmla="*/ 138117 h 695325"/>
                <a:gd name="connsiteX3" fmla="*/ 138117 w 561975"/>
                <a:gd name="connsiteY3" fmla="*/ 619616 h 695325"/>
                <a:gd name="connsiteX4" fmla="*/ 562000 w 561975"/>
                <a:gd name="connsiteY4" fmla="*/ 619616 h 695325"/>
                <a:gd name="connsiteX5" fmla="*/ 431031 w 561975"/>
                <a:gd name="connsiteY5" fmla="*/ 35005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975" h="695325">
                  <a:moveTo>
                    <a:pt x="431031" y="350058"/>
                  </a:moveTo>
                  <a:cubicBezTo>
                    <a:pt x="430905" y="244845"/>
                    <a:pt x="479209" y="145428"/>
                    <a:pt x="562000" y="80501"/>
                  </a:cubicBezTo>
                  <a:cubicBezTo>
                    <a:pt x="413127" y="-36551"/>
                    <a:pt x="197553" y="-10756"/>
                    <a:pt x="80501" y="138117"/>
                  </a:cubicBezTo>
                  <a:cubicBezTo>
                    <a:pt x="-36551" y="286989"/>
                    <a:pt x="-10756" y="502564"/>
                    <a:pt x="138117" y="619616"/>
                  </a:cubicBezTo>
                  <a:cubicBezTo>
                    <a:pt x="262491" y="717406"/>
                    <a:pt x="437626" y="717406"/>
                    <a:pt x="562000" y="619616"/>
                  </a:cubicBezTo>
                  <a:cubicBezTo>
                    <a:pt x="479209" y="554688"/>
                    <a:pt x="430905" y="455272"/>
                    <a:pt x="431031" y="350058"/>
                  </a:cubicBezTo>
                  <a:close/>
                </a:path>
              </a:pathLst>
            </a:custGeom>
            <a:solidFill>
              <a:srgbClr val="EB001B"/>
            </a:solidFill>
            <a:ln w="9525" cap="flat">
              <a:noFill/>
              <a:prstDash val="solid"/>
              <a:miter/>
            </a:ln>
          </p:spPr>
          <p:txBody>
            <a:bodyPr rtlCol="0" anchor="ctr"/>
            <a:lstStyle/>
            <a:p>
              <a:pPr lvl="0"/>
              <a:endParaRPr lang="en-US"/>
            </a:p>
          </p:txBody>
        </p:sp>
        <p:sp>
          <p:nvSpPr>
            <p:cNvPr id="15" name="Freeform: Shape 14">
              <a:extLst>
                <a:ext uri="{FF2B5EF4-FFF2-40B4-BE49-F238E27FC236}">
                  <a16:creationId xmlns:a16="http://schemas.microsoft.com/office/drawing/2014/main" id="{15233F1A-C03B-4B5A-A406-CC4E8F93C8B4}"/>
                </a:ext>
              </a:extLst>
            </p:cNvPr>
            <p:cNvSpPr/>
            <p:nvPr/>
          </p:nvSpPr>
          <p:spPr bwMode="gray">
            <a:xfrm>
              <a:off x="803719" y="1309321"/>
              <a:ext cx="561975" cy="695324"/>
            </a:xfrm>
            <a:custGeom>
              <a:avLst/>
              <a:gdLst>
                <a:gd name="connsiteX0" fmla="*/ 561880 w 561975"/>
                <a:gd name="connsiteY0" fmla="*/ 349975 h 695325"/>
                <a:gd name="connsiteX1" fmla="*/ 218897 w 561975"/>
                <a:gd name="connsiteY1" fmla="*/ 692793 h 695325"/>
                <a:gd name="connsiteX2" fmla="*/ 7144 w 561975"/>
                <a:gd name="connsiteY2" fmla="*/ 619533 h 695325"/>
                <a:gd name="connsiteX3" fmla="*/ 64760 w 561975"/>
                <a:gd name="connsiteY3" fmla="*/ 138034 h 695325"/>
                <a:gd name="connsiteX4" fmla="*/ 7144 w 561975"/>
                <a:gd name="connsiteY4" fmla="*/ 80418 h 695325"/>
                <a:gd name="connsiteX5" fmla="*/ 488620 w 561975"/>
                <a:gd name="connsiteY5" fmla="*/ 138222 h 695325"/>
                <a:gd name="connsiteX6" fmla="*/ 561880 w 561975"/>
                <a:gd name="connsiteY6" fmla="*/ 349975 h 695325"/>
                <a:gd name="connsiteX7" fmla="*/ 529209 w 561975"/>
                <a:gd name="connsiteY7" fmla="*/ 562478 h 695325"/>
                <a:gd name="connsiteX8" fmla="*/ 529209 w 561975"/>
                <a:gd name="connsiteY8" fmla="*/ 551429 h 695325"/>
                <a:gd name="connsiteX9" fmla="*/ 533686 w 561975"/>
                <a:gd name="connsiteY9" fmla="*/ 551429 h 695325"/>
                <a:gd name="connsiteX10" fmla="*/ 533686 w 561975"/>
                <a:gd name="connsiteY10" fmla="*/ 549143 h 695325"/>
                <a:gd name="connsiteX11" fmla="*/ 522446 w 561975"/>
                <a:gd name="connsiteY11" fmla="*/ 549143 h 695325"/>
                <a:gd name="connsiteX12" fmla="*/ 522446 w 561975"/>
                <a:gd name="connsiteY12" fmla="*/ 551429 h 695325"/>
                <a:gd name="connsiteX13" fmla="*/ 526828 w 561975"/>
                <a:gd name="connsiteY13" fmla="*/ 551429 h 695325"/>
                <a:gd name="connsiteX14" fmla="*/ 526828 w 561975"/>
                <a:gd name="connsiteY14" fmla="*/ 562478 h 695325"/>
                <a:gd name="connsiteX15" fmla="*/ 551212 w 561975"/>
                <a:gd name="connsiteY15" fmla="*/ 562478 h 695325"/>
                <a:gd name="connsiteX16" fmla="*/ 551212 w 561975"/>
                <a:gd name="connsiteY16" fmla="*/ 549143 h 695325"/>
                <a:gd name="connsiteX17" fmla="*/ 547687 w 561975"/>
                <a:gd name="connsiteY17" fmla="*/ 549143 h 695325"/>
                <a:gd name="connsiteX18" fmla="*/ 543687 w 561975"/>
                <a:gd name="connsiteY18" fmla="*/ 558668 h 695325"/>
                <a:gd name="connsiteX19" fmla="*/ 539686 w 561975"/>
                <a:gd name="connsiteY19" fmla="*/ 549143 h 695325"/>
                <a:gd name="connsiteX20" fmla="*/ 536258 w 561975"/>
                <a:gd name="connsiteY20" fmla="*/ 549143 h 695325"/>
                <a:gd name="connsiteX21" fmla="*/ 536258 w 561975"/>
                <a:gd name="connsiteY21" fmla="*/ 562478 h 695325"/>
                <a:gd name="connsiteX22" fmla="*/ 538734 w 561975"/>
                <a:gd name="connsiteY22" fmla="*/ 562478 h 695325"/>
                <a:gd name="connsiteX23" fmla="*/ 538734 w 561975"/>
                <a:gd name="connsiteY23" fmla="*/ 552382 h 695325"/>
                <a:gd name="connsiteX24" fmla="*/ 542449 w 561975"/>
                <a:gd name="connsiteY24" fmla="*/ 561049 h 695325"/>
                <a:gd name="connsiteX25" fmla="*/ 545020 w 561975"/>
                <a:gd name="connsiteY25" fmla="*/ 561049 h 695325"/>
                <a:gd name="connsiteX26" fmla="*/ 548735 w 561975"/>
                <a:gd name="connsiteY26" fmla="*/ 552382 h 695325"/>
                <a:gd name="connsiteX27" fmla="*/ 548735 w 561975"/>
                <a:gd name="connsiteY27" fmla="*/ 56247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61975" h="695325">
                  <a:moveTo>
                    <a:pt x="561880" y="349975"/>
                  </a:moveTo>
                  <a:cubicBezTo>
                    <a:pt x="561834" y="539354"/>
                    <a:pt x="408276" y="692838"/>
                    <a:pt x="218897" y="692793"/>
                  </a:cubicBezTo>
                  <a:cubicBezTo>
                    <a:pt x="142100" y="692774"/>
                    <a:pt x="67533" y="666976"/>
                    <a:pt x="7144" y="619533"/>
                  </a:cubicBezTo>
                  <a:cubicBezTo>
                    <a:pt x="156016" y="502481"/>
                    <a:pt x="181812" y="286906"/>
                    <a:pt x="64760" y="138034"/>
                  </a:cubicBezTo>
                  <a:cubicBezTo>
                    <a:pt x="47913" y="116607"/>
                    <a:pt x="28571" y="97265"/>
                    <a:pt x="7144" y="80418"/>
                  </a:cubicBezTo>
                  <a:cubicBezTo>
                    <a:pt x="156062" y="-36576"/>
                    <a:pt x="371626" y="-10696"/>
                    <a:pt x="488620" y="138222"/>
                  </a:cubicBezTo>
                  <a:cubicBezTo>
                    <a:pt x="536063" y="198612"/>
                    <a:pt x="561861" y="273179"/>
                    <a:pt x="561880" y="349975"/>
                  </a:cubicBezTo>
                  <a:close/>
                  <a:moveTo>
                    <a:pt x="529209" y="562478"/>
                  </a:moveTo>
                  <a:lnTo>
                    <a:pt x="529209" y="551429"/>
                  </a:lnTo>
                  <a:lnTo>
                    <a:pt x="533686" y="551429"/>
                  </a:lnTo>
                  <a:lnTo>
                    <a:pt x="533686" y="549143"/>
                  </a:lnTo>
                  <a:lnTo>
                    <a:pt x="522446" y="549143"/>
                  </a:lnTo>
                  <a:lnTo>
                    <a:pt x="522446" y="551429"/>
                  </a:lnTo>
                  <a:lnTo>
                    <a:pt x="526828" y="551429"/>
                  </a:lnTo>
                  <a:lnTo>
                    <a:pt x="526828" y="562478"/>
                  </a:lnTo>
                  <a:close/>
                  <a:moveTo>
                    <a:pt x="551212" y="562478"/>
                  </a:moveTo>
                  <a:lnTo>
                    <a:pt x="551212" y="549143"/>
                  </a:lnTo>
                  <a:lnTo>
                    <a:pt x="547687" y="549143"/>
                  </a:lnTo>
                  <a:lnTo>
                    <a:pt x="543687" y="558668"/>
                  </a:lnTo>
                  <a:lnTo>
                    <a:pt x="539686" y="549143"/>
                  </a:lnTo>
                  <a:lnTo>
                    <a:pt x="536258" y="549143"/>
                  </a:lnTo>
                  <a:lnTo>
                    <a:pt x="536258" y="562478"/>
                  </a:lnTo>
                  <a:lnTo>
                    <a:pt x="538734" y="562478"/>
                  </a:lnTo>
                  <a:lnTo>
                    <a:pt x="538734" y="552382"/>
                  </a:lnTo>
                  <a:lnTo>
                    <a:pt x="542449" y="561049"/>
                  </a:lnTo>
                  <a:lnTo>
                    <a:pt x="545020" y="561049"/>
                  </a:lnTo>
                  <a:lnTo>
                    <a:pt x="548735" y="552382"/>
                  </a:lnTo>
                  <a:lnTo>
                    <a:pt x="548735" y="562478"/>
                  </a:lnTo>
                  <a:close/>
                </a:path>
              </a:pathLst>
            </a:custGeom>
            <a:solidFill>
              <a:srgbClr val="F79E1B"/>
            </a:solid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15145896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Section Divider Custom Image - Dark">
    <p:bg bwMode="gray">
      <p:bgPr>
        <a:solidFill>
          <a:srgbClr val="242423"/>
        </a:solidFill>
        <a:effectLst/>
      </p:bgPr>
    </p:bg>
    <p:spTree>
      <p:nvGrpSpPr>
        <p:cNvPr id="1" name=""/>
        <p:cNvGrpSpPr/>
        <p:nvPr/>
      </p:nvGrpSpPr>
      <p:grpSpPr>
        <a:xfrm>
          <a:off x="0" y="0"/>
          <a:ext cx="0" cy="0"/>
          <a:chOff x="0" y="0"/>
          <a:chExt cx="0" cy="0"/>
        </a:xfrm>
      </p:grpSpPr>
      <p:sp>
        <p:nvSpPr>
          <p:cNvPr id="9" name="Picture Placeholder 3"/>
          <p:cNvSpPr>
            <a:spLocks noGrp="1"/>
          </p:cNvSpPr>
          <p:nvPr>
            <p:ph type="pic" sz="quarter" idx="11" hasCustomPrompt="1"/>
          </p:nvPr>
        </p:nvSpPr>
        <p:spPr bwMode="gray">
          <a:xfrm>
            <a:off x="0" y="0"/>
            <a:ext cx="4572000" cy="5143500"/>
          </a:xfrm>
        </p:spPr>
        <p:txBody>
          <a:bodyPr bIns="2011680" anchor="b" anchorCtr="0"/>
          <a:lstStyle>
            <a:lvl1pPr marL="0" indent="0" algn="ctr">
              <a:buNone/>
              <a:defRPr sz="1200">
                <a:solidFill>
                  <a:srgbClr val="B9B9B9"/>
                </a:solidFill>
                <a:latin typeface="+mn-lt"/>
              </a:defRPr>
            </a:lvl1pPr>
          </a:lstStyle>
          <a:p>
            <a:r>
              <a:rPr lang="en-US"/>
              <a:t>Click icon to add image.</a:t>
            </a:r>
            <a:br>
              <a:rPr lang="en-US"/>
            </a:br>
            <a:r>
              <a:rPr lang="en-US"/>
              <a:t>Get </a:t>
            </a:r>
            <a:r>
              <a:rPr lang="en-US" err="1"/>
              <a:t>Mastercard</a:t>
            </a:r>
            <a:r>
              <a:rPr lang="en-US"/>
              <a:t> approved photography and</a:t>
            </a:r>
            <a:br>
              <a:rPr lang="en-US"/>
            </a:br>
            <a:r>
              <a:rPr lang="en-US"/>
              <a:t>imagery guidelines at designcenter.mastercard.com.</a:t>
            </a:r>
          </a:p>
        </p:txBody>
      </p:sp>
      <p:sp>
        <p:nvSpPr>
          <p:cNvPr id="2" name="Title 1"/>
          <p:cNvSpPr>
            <a:spLocks noGrp="1"/>
          </p:cNvSpPr>
          <p:nvPr>
            <p:ph type="title" hasCustomPrompt="1"/>
          </p:nvPr>
        </p:nvSpPr>
        <p:spPr bwMode="gray">
          <a:xfrm>
            <a:off x="4735302" y="1627632"/>
            <a:ext cx="4198001" cy="1034129"/>
          </a:xfrm>
        </p:spPr>
        <p:txBody>
          <a:bodyPr anchor="t" anchorCtr="0"/>
          <a:lstStyle>
            <a:lvl1pPr>
              <a:defRPr sz="3400" b="0">
                <a:solidFill>
                  <a:srgbClr val="FFFFFF"/>
                </a:solidFill>
                <a:latin typeface="Mark Offc For MC Extra Light" panose="020B0404020101010102" pitchFamily="34" charset="0"/>
              </a:defRPr>
            </a:lvl1pPr>
          </a:lstStyle>
          <a:p>
            <a:r>
              <a:rPr lang="en-US"/>
              <a:t>Click to add section title</a:t>
            </a:r>
          </a:p>
        </p:txBody>
      </p:sp>
      <p:sp>
        <p:nvSpPr>
          <p:cNvPr id="10" name="Text Placeholder 2">
            <a:extLst>
              <a:ext uri="{FF2B5EF4-FFF2-40B4-BE49-F238E27FC236}">
                <a16:creationId xmlns:a16="http://schemas.microsoft.com/office/drawing/2014/main" id="{9AA6011C-9C86-479C-B246-782AA50C00B6}"/>
              </a:ext>
            </a:extLst>
          </p:cNvPr>
          <p:cNvSpPr>
            <a:spLocks noGrp="1"/>
          </p:cNvSpPr>
          <p:nvPr>
            <p:ph type="body" idx="1" hasCustomPrompt="1"/>
          </p:nvPr>
        </p:nvSpPr>
        <p:spPr bwMode="gray">
          <a:xfrm>
            <a:off x="4736593" y="292608"/>
            <a:ext cx="2560320" cy="321562"/>
          </a:xfrm>
        </p:spPr>
        <p:txBody>
          <a:bodyPr/>
          <a:lstStyle>
            <a:lvl1pPr marL="0" indent="0">
              <a:buNone/>
              <a:defRPr sz="1600" b="1">
                <a:solidFill>
                  <a:srgbClr val="FFFFFF"/>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a:t>Click to add section number</a:t>
            </a:r>
          </a:p>
        </p:txBody>
      </p:sp>
      <p:grpSp>
        <p:nvGrpSpPr>
          <p:cNvPr id="15" name="Graphic 9">
            <a:extLst>
              <a:ext uri="{FF2B5EF4-FFF2-40B4-BE49-F238E27FC236}">
                <a16:creationId xmlns:a16="http://schemas.microsoft.com/office/drawing/2014/main" id="{12B85802-BB39-4C5D-A505-1607C4D030E9}"/>
              </a:ext>
            </a:extLst>
          </p:cNvPr>
          <p:cNvGrpSpPr>
            <a:grpSpLocks noChangeAspect="1"/>
          </p:cNvGrpSpPr>
          <p:nvPr userDrawn="1"/>
        </p:nvGrpSpPr>
        <p:grpSpPr bwMode="gray">
          <a:xfrm>
            <a:off x="8288899" y="258318"/>
            <a:ext cx="595440" cy="370757"/>
            <a:chOff x="248864" y="1309239"/>
            <a:chExt cx="1116830" cy="695406"/>
          </a:xfrm>
        </p:grpSpPr>
        <p:sp>
          <p:nvSpPr>
            <p:cNvPr id="16" name="Freeform: Shape 15">
              <a:extLst>
                <a:ext uri="{FF2B5EF4-FFF2-40B4-BE49-F238E27FC236}">
                  <a16:creationId xmlns:a16="http://schemas.microsoft.com/office/drawing/2014/main" id="{52F22D6E-0EEA-49F1-90F5-07F1770A122C}"/>
                </a:ext>
              </a:extLst>
            </p:cNvPr>
            <p:cNvSpPr/>
            <p:nvPr/>
          </p:nvSpPr>
          <p:spPr bwMode="gray">
            <a:xfrm>
              <a:off x="653702" y="1382595"/>
              <a:ext cx="314326" cy="552451"/>
            </a:xfrm>
            <a:custGeom>
              <a:avLst/>
              <a:gdLst>
                <a:gd name="connsiteX0" fmla="*/ 7144 w 314325"/>
                <a:gd name="connsiteY0" fmla="*/ 7144 h 552450"/>
                <a:gd name="connsiteX1" fmla="*/ 307181 w 314325"/>
                <a:gd name="connsiteY1" fmla="*/ 7144 h 552450"/>
                <a:gd name="connsiteX2" fmla="*/ 307181 w 314325"/>
                <a:gd name="connsiteY2" fmla="*/ 546354 h 552450"/>
                <a:gd name="connsiteX3" fmla="*/ 7144 w 314325"/>
                <a:gd name="connsiteY3" fmla="*/ 546354 h 552450"/>
              </a:gdLst>
              <a:ahLst/>
              <a:cxnLst>
                <a:cxn ang="0">
                  <a:pos x="connsiteX0" y="connsiteY0"/>
                </a:cxn>
                <a:cxn ang="0">
                  <a:pos x="connsiteX1" y="connsiteY1"/>
                </a:cxn>
                <a:cxn ang="0">
                  <a:pos x="connsiteX2" y="connsiteY2"/>
                </a:cxn>
                <a:cxn ang="0">
                  <a:pos x="connsiteX3" y="connsiteY3"/>
                </a:cxn>
              </a:cxnLst>
              <a:rect l="l" t="t" r="r" b="b"/>
              <a:pathLst>
                <a:path w="314325" h="552450">
                  <a:moveTo>
                    <a:pt x="7144" y="7144"/>
                  </a:moveTo>
                  <a:lnTo>
                    <a:pt x="307181" y="7144"/>
                  </a:lnTo>
                  <a:lnTo>
                    <a:pt x="307181" y="546354"/>
                  </a:lnTo>
                  <a:lnTo>
                    <a:pt x="7144" y="546354"/>
                  </a:lnTo>
                  <a:close/>
                </a:path>
              </a:pathLst>
            </a:custGeom>
            <a:solidFill>
              <a:srgbClr val="FF5F00"/>
            </a:solidFill>
            <a:ln w="9525" cap="flat">
              <a:noFill/>
              <a:prstDash val="solid"/>
              <a:miter/>
            </a:ln>
          </p:spPr>
          <p:txBody>
            <a:bodyPr rtlCol="0" anchor="ctr"/>
            <a:lstStyle/>
            <a:p>
              <a:pPr lvl="0"/>
              <a:endParaRPr lang="en-US"/>
            </a:p>
          </p:txBody>
        </p:sp>
        <p:sp>
          <p:nvSpPr>
            <p:cNvPr id="17" name="Freeform: Shape 16">
              <a:extLst>
                <a:ext uri="{FF2B5EF4-FFF2-40B4-BE49-F238E27FC236}">
                  <a16:creationId xmlns:a16="http://schemas.microsoft.com/office/drawing/2014/main" id="{337D5DE4-5B24-402B-B21C-66683008D4C8}"/>
                </a:ext>
              </a:extLst>
            </p:cNvPr>
            <p:cNvSpPr/>
            <p:nvPr/>
          </p:nvSpPr>
          <p:spPr bwMode="gray">
            <a:xfrm>
              <a:off x="248864" y="1309239"/>
              <a:ext cx="561975" cy="695324"/>
            </a:xfrm>
            <a:custGeom>
              <a:avLst/>
              <a:gdLst>
                <a:gd name="connsiteX0" fmla="*/ 431031 w 561975"/>
                <a:gd name="connsiteY0" fmla="*/ 350058 h 695325"/>
                <a:gd name="connsiteX1" fmla="*/ 562000 w 561975"/>
                <a:gd name="connsiteY1" fmla="*/ 80501 h 695325"/>
                <a:gd name="connsiteX2" fmla="*/ 80501 w 561975"/>
                <a:gd name="connsiteY2" fmla="*/ 138117 h 695325"/>
                <a:gd name="connsiteX3" fmla="*/ 138117 w 561975"/>
                <a:gd name="connsiteY3" fmla="*/ 619616 h 695325"/>
                <a:gd name="connsiteX4" fmla="*/ 562000 w 561975"/>
                <a:gd name="connsiteY4" fmla="*/ 619616 h 695325"/>
                <a:gd name="connsiteX5" fmla="*/ 431031 w 561975"/>
                <a:gd name="connsiteY5" fmla="*/ 35005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975" h="695325">
                  <a:moveTo>
                    <a:pt x="431031" y="350058"/>
                  </a:moveTo>
                  <a:cubicBezTo>
                    <a:pt x="430905" y="244845"/>
                    <a:pt x="479209" y="145428"/>
                    <a:pt x="562000" y="80501"/>
                  </a:cubicBezTo>
                  <a:cubicBezTo>
                    <a:pt x="413127" y="-36551"/>
                    <a:pt x="197553" y="-10756"/>
                    <a:pt x="80501" y="138117"/>
                  </a:cubicBezTo>
                  <a:cubicBezTo>
                    <a:pt x="-36551" y="286989"/>
                    <a:pt x="-10756" y="502564"/>
                    <a:pt x="138117" y="619616"/>
                  </a:cubicBezTo>
                  <a:cubicBezTo>
                    <a:pt x="262491" y="717406"/>
                    <a:pt x="437626" y="717406"/>
                    <a:pt x="562000" y="619616"/>
                  </a:cubicBezTo>
                  <a:cubicBezTo>
                    <a:pt x="479209" y="554688"/>
                    <a:pt x="430905" y="455272"/>
                    <a:pt x="431031" y="350058"/>
                  </a:cubicBezTo>
                  <a:close/>
                </a:path>
              </a:pathLst>
            </a:custGeom>
            <a:solidFill>
              <a:srgbClr val="EB001B"/>
            </a:solidFill>
            <a:ln w="9525" cap="flat">
              <a:noFill/>
              <a:prstDash val="solid"/>
              <a:miter/>
            </a:ln>
          </p:spPr>
          <p:txBody>
            <a:bodyPr rtlCol="0" anchor="ctr"/>
            <a:lstStyle/>
            <a:p>
              <a:pPr lvl="0"/>
              <a:endParaRPr lang="en-US"/>
            </a:p>
          </p:txBody>
        </p:sp>
        <p:sp>
          <p:nvSpPr>
            <p:cNvPr id="18" name="Freeform: Shape 17">
              <a:extLst>
                <a:ext uri="{FF2B5EF4-FFF2-40B4-BE49-F238E27FC236}">
                  <a16:creationId xmlns:a16="http://schemas.microsoft.com/office/drawing/2014/main" id="{B9222EFE-0F64-4BE7-87F0-0BD8C2C50551}"/>
                </a:ext>
              </a:extLst>
            </p:cNvPr>
            <p:cNvSpPr/>
            <p:nvPr/>
          </p:nvSpPr>
          <p:spPr bwMode="gray">
            <a:xfrm>
              <a:off x="803719" y="1309321"/>
              <a:ext cx="561975" cy="695324"/>
            </a:xfrm>
            <a:custGeom>
              <a:avLst/>
              <a:gdLst>
                <a:gd name="connsiteX0" fmla="*/ 561880 w 561975"/>
                <a:gd name="connsiteY0" fmla="*/ 349975 h 695325"/>
                <a:gd name="connsiteX1" fmla="*/ 218897 w 561975"/>
                <a:gd name="connsiteY1" fmla="*/ 692793 h 695325"/>
                <a:gd name="connsiteX2" fmla="*/ 7144 w 561975"/>
                <a:gd name="connsiteY2" fmla="*/ 619533 h 695325"/>
                <a:gd name="connsiteX3" fmla="*/ 64760 w 561975"/>
                <a:gd name="connsiteY3" fmla="*/ 138034 h 695325"/>
                <a:gd name="connsiteX4" fmla="*/ 7144 w 561975"/>
                <a:gd name="connsiteY4" fmla="*/ 80418 h 695325"/>
                <a:gd name="connsiteX5" fmla="*/ 488620 w 561975"/>
                <a:gd name="connsiteY5" fmla="*/ 138222 h 695325"/>
                <a:gd name="connsiteX6" fmla="*/ 561880 w 561975"/>
                <a:gd name="connsiteY6" fmla="*/ 349975 h 695325"/>
                <a:gd name="connsiteX7" fmla="*/ 529209 w 561975"/>
                <a:gd name="connsiteY7" fmla="*/ 562478 h 695325"/>
                <a:gd name="connsiteX8" fmla="*/ 529209 w 561975"/>
                <a:gd name="connsiteY8" fmla="*/ 551429 h 695325"/>
                <a:gd name="connsiteX9" fmla="*/ 533686 w 561975"/>
                <a:gd name="connsiteY9" fmla="*/ 551429 h 695325"/>
                <a:gd name="connsiteX10" fmla="*/ 533686 w 561975"/>
                <a:gd name="connsiteY10" fmla="*/ 549143 h 695325"/>
                <a:gd name="connsiteX11" fmla="*/ 522446 w 561975"/>
                <a:gd name="connsiteY11" fmla="*/ 549143 h 695325"/>
                <a:gd name="connsiteX12" fmla="*/ 522446 w 561975"/>
                <a:gd name="connsiteY12" fmla="*/ 551429 h 695325"/>
                <a:gd name="connsiteX13" fmla="*/ 526828 w 561975"/>
                <a:gd name="connsiteY13" fmla="*/ 551429 h 695325"/>
                <a:gd name="connsiteX14" fmla="*/ 526828 w 561975"/>
                <a:gd name="connsiteY14" fmla="*/ 562478 h 695325"/>
                <a:gd name="connsiteX15" fmla="*/ 551212 w 561975"/>
                <a:gd name="connsiteY15" fmla="*/ 562478 h 695325"/>
                <a:gd name="connsiteX16" fmla="*/ 551212 w 561975"/>
                <a:gd name="connsiteY16" fmla="*/ 549143 h 695325"/>
                <a:gd name="connsiteX17" fmla="*/ 547687 w 561975"/>
                <a:gd name="connsiteY17" fmla="*/ 549143 h 695325"/>
                <a:gd name="connsiteX18" fmla="*/ 543687 w 561975"/>
                <a:gd name="connsiteY18" fmla="*/ 558668 h 695325"/>
                <a:gd name="connsiteX19" fmla="*/ 539686 w 561975"/>
                <a:gd name="connsiteY19" fmla="*/ 549143 h 695325"/>
                <a:gd name="connsiteX20" fmla="*/ 536258 w 561975"/>
                <a:gd name="connsiteY20" fmla="*/ 549143 h 695325"/>
                <a:gd name="connsiteX21" fmla="*/ 536258 w 561975"/>
                <a:gd name="connsiteY21" fmla="*/ 562478 h 695325"/>
                <a:gd name="connsiteX22" fmla="*/ 538734 w 561975"/>
                <a:gd name="connsiteY22" fmla="*/ 562478 h 695325"/>
                <a:gd name="connsiteX23" fmla="*/ 538734 w 561975"/>
                <a:gd name="connsiteY23" fmla="*/ 552382 h 695325"/>
                <a:gd name="connsiteX24" fmla="*/ 542449 w 561975"/>
                <a:gd name="connsiteY24" fmla="*/ 561049 h 695325"/>
                <a:gd name="connsiteX25" fmla="*/ 545020 w 561975"/>
                <a:gd name="connsiteY25" fmla="*/ 561049 h 695325"/>
                <a:gd name="connsiteX26" fmla="*/ 548735 w 561975"/>
                <a:gd name="connsiteY26" fmla="*/ 552382 h 695325"/>
                <a:gd name="connsiteX27" fmla="*/ 548735 w 561975"/>
                <a:gd name="connsiteY27" fmla="*/ 56247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61975" h="695325">
                  <a:moveTo>
                    <a:pt x="561880" y="349975"/>
                  </a:moveTo>
                  <a:cubicBezTo>
                    <a:pt x="561834" y="539354"/>
                    <a:pt x="408276" y="692838"/>
                    <a:pt x="218897" y="692793"/>
                  </a:cubicBezTo>
                  <a:cubicBezTo>
                    <a:pt x="142100" y="692774"/>
                    <a:pt x="67533" y="666976"/>
                    <a:pt x="7144" y="619533"/>
                  </a:cubicBezTo>
                  <a:cubicBezTo>
                    <a:pt x="156016" y="502481"/>
                    <a:pt x="181812" y="286906"/>
                    <a:pt x="64760" y="138034"/>
                  </a:cubicBezTo>
                  <a:cubicBezTo>
                    <a:pt x="47913" y="116607"/>
                    <a:pt x="28571" y="97265"/>
                    <a:pt x="7144" y="80418"/>
                  </a:cubicBezTo>
                  <a:cubicBezTo>
                    <a:pt x="156062" y="-36576"/>
                    <a:pt x="371626" y="-10696"/>
                    <a:pt x="488620" y="138222"/>
                  </a:cubicBezTo>
                  <a:cubicBezTo>
                    <a:pt x="536063" y="198612"/>
                    <a:pt x="561861" y="273179"/>
                    <a:pt x="561880" y="349975"/>
                  </a:cubicBezTo>
                  <a:close/>
                  <a:moveTo>
                    <a:pt x="529209" y="562478"/>
                  </a:moveTo>
                  <a:lnTo>
                    <a:pt x="529209" y="551429"/>
                  </a:lnTo>
                  <a:lnTo>
                    <a:pt x="533686" y="551429"/>
                  </a:lnTo>
                  <a:lnTo>
                    <a:pt x="533686" y="549143"/>
                  </a:lnTo>
                  <a:lnTo>
                    <a:pt x="522446" y="549143"/>
                  </a:lnTo>
                  <a:lnTo>
                    <a:pt x="522446" y="551429"/>
                  </a:lnTo>
                  <a:lnTo>
                    <a:pt x="526828" y="551429"/>
                  </a:lnTo>
                  <a:lnTo>
                    <a:pt x="526828" y="562478"/>
                  </a:lnTo>
                  <a:close/>
                  <a:moveTo>
                    <a:pt x="551212" y="562478"/>
                  </a:moveTo>
                  <a:lnTo>
                    <a:pt x="551212" y="549143"/>
                  </a:lnTo>
                  <a:lnTo>
                    <a:pt x="547687" y="549143"/>
                  </a:lnTo>
                  <a:lnTo>
                    <a:pt x="543687" y="558668"/>
                  </a:lnTo>
                  <a:lnTo>
                    <a:pt x="539686" y="549143"/>
                  </a:lnTo>
                  <a:lnTo>
                    <a:pt x="536258" y="549143"/>
                  </a:lnTo>
                  <a:lnTo>
                    <a:pt x="536258" y="562478"/>
                  </a:lnTo>
                  <a:lnTo>
                    <a:pt x="538734" y="562478"/>
                  </a:lnTo>
                  <a:lnTo>
                    <a:pt x="538734" y="552382"/>
                  </a:lnTo>
                  <a:lnTo>
                    <a:pt x="542449" y="561049"/>
                  </a:lnTo>
                  <a:lnTo>
                    <a:pt x="545020" y="561049"/>
                  </a:lnTo>
                  <a:lnTo>
                    <a:pt x="548735" y="552382"/>
                  </a:lnTo>
                  <a:lnTo>
                    <a:pt x="548735" y="562478"/>
                  </a:lnTo>
                  <a:close/>
                </a:path>
              </a:pathLst>
            </a:custGeom>
            <a:solidFill>
              <a:srgbClr val="F79E1B"/>
            </a:solid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9033222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ection Divider Custom Image - Light">
    <p:bg bwMode="gray">
      <p:bgPr>
        <a:solidFill>
          <a:schemeClr val="bg1"/>
        </a:solidFill>
        <a:effectLst/>
      </p:bgPr>
    </p:bg>
    <p:spTree>
      <p:nvGrpSpPr>
        <p:cNvPr id="1" name=""/>
        <p:cNvGrpSpPr/>
        <p:nvPr/>
      </p:nvGrpSpPr>
      <p:grpSpPr>
        <a:xfrm>
          <a:off x="0" y="0"/>
          <a:ext cx="0" cy="0"/>
          <a:chOff x="0" y="0"/>
          <a:chExt cx="0" cy="0"/>
        </a:xfrm>
      </p:grpSpPr>
      <p:sp>
        <p:nvSpPr>
          <p:cNvPr id="11" name="Picture Placeholder 3"/>
          <p:cNvSpPr>
            <a:spLocks noGrp="1"/>
          </p:cNvSpPr>
          <p:nvPr>
            <p:ph type="pic" sz="quarter" idx="11" hasCustomPrompt="1"/>
          </p:nvPr>
        </p:nvSpPr>
        <p:spPr bwMode="gray">
          <a:xfrm>
            <a:off x="0" y="0"/>
            <a:ext cx="4572000" cy="5143500"/>
          </a:xfrm>
        </p:spPr>
        <p:txBody>
          <a:bodyPr bIns="2011680" anchor="b" anchorCtr="0"/>
          <a:lstStyle>
            <a:lvl1pPr marL="0" indent="0" algn="ctr">
              <a:buNone/>
              <a:defRPr sz="1200">
                <a:solidFill>
                  <a:srgbClr val="B9B9B9"/>
                </a:solidFill>
                <a:latin typeface="+mn-lt"/>
              </a:defRPr>
            </a:lvl1pPr>
          </a:lstStyle>
          <a:p>
            <a:r>
              <a:rPr lang="en-US"/>
              <a:t>Click icon to add image.</a:t>
            </a:r>
            <a:br>
              <a:rPr lang="en-US"/>
            </a:br>
            <a:r>
              <a:rPr lang="en-US"/>
              <a:t>Get </a:t>
            </a:r>
            <a:r>
              <a:rPr lang="en-US" err="1"/>
              <a:t>Mastercard</a:t>
            </a:r>
            <a:r>
              <a:rPr lang="en-US"/>
              <a:t> approved photography and</a:t>
            </a:r>
            <a:br>
              <a:rPr lang="en-US"/>
            </a:br>
            <a:r>
              <a:rPr lang="en-US"/>
              <a:t>imagery guidelines at designcenter.mastercard.com.</a:t>
            </a:r>
          </a:p>
        </p:txBody>
      </p:sp>
      <p:sp>
        <p:nvSpPr>
          <p:cNvPr id="5" name="Text Placeholder 2"/>
          <p:cNvSpPr>
            <a:spLocks noGrp="1"/>
          </p:cNvSpPr>
          <p:nvPr>
            <p:ph type="body" idx="1" hasCustomPrompt="1"/>
          </p:nvPr>
        </p:nvSpPr>
        <p:spPr bwMode="gray">
          <a:xfrm>
            <a:off x="4736593" y="292608"/>
            <a:ext cx="2560320" cy="321562"/>
          </a:xfrm>
        </p:spPr>
        <p:txBody>
          <a:bodyPr/>
          <a:lstStyle>
            <a:lvl1pPr marL="0" indent="0">
              <a:buNone/>
              <a:defRPr sz="1600" b="1">
                <a:solidFill>
                  <a:schemeClr val="tx1"/>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a:t>Click to add section number</a:t>
            </a:r>
          </a:p>
        </p:txBody>
      </p:sp>
      <p:sp>
        <p:nvSpPr>
          <p:cNvPr id="2" name="Title 1"/>
          <p:cNvSpPr>
            <a:spLocks noGrp="1"/>
          </p:cNvSpPr>
          <p:nvPr>
            <p:ph type="title" hasCustomPrompt="1"/>
          </p:nvPr>
        </p:nvSpPr>
        <p:spPr bwMode="gray">
          <a:xfrm>
            <a:off x="4736594" y="1627632"/>
            <a:ext cx="4198001" cy="1034129"/>
          </a:xfrm>
        </p:spPr>
        <p:txBody>
          <a:bodyPr anchor="t" anchorCtr="0"/>
          <a:lstStyle>
            <a:lvl1pPr>
              <a:defRPr sz="3400" b="0">
                <a:solidFill>
                  <a:schemeClr val="tx1"/>
                </a:solidFill>
                <a:latin typeface="Mark Offc For MC Extra Light" panose="020B0404020101010102" pitchFamily="34" charset="0"/>
              </a:defRPr>
            </a:lvl1pPr>
          </a:lstStyle>
          <a:p>
            <a:r>
              <a:rPr lang="en-US"/>
              <a:t>Click to add section title</a:t>
            </a:r>
          </a:p>
        </p:txBody>
      </p:sp>
      <p:grpSp>
        <p:nvGrpSpPr>
          <p:cNvPr id="14" name="Graphic 9">
            <a:extLst>
              <a:ext uri="{FF2B5EF4-FFF2-40B4-BE49-F238E27FC236}">
                <a16:creationId xmlns:a16="http://schemas.microsoft.com/office/drawing/2014/main" id="{A997D84B-8700-4048-9AFB-D2EE18AAB3F5}"/>
              </a:ext>
            </a:extLst>
          </p:cNvPr>
          <p:cNvGrpSpPr>
            <a:grpSpLocks noChangeAspect="1"/>
          </p:cNvGrpSpPr>
          <p:nvPr userDrawn="1"/>
        </p:nvGrpSpPr>
        <p:grpSpPr bwMode="gray">
          <a:xfrm>
            <a:off x="8288899" y="258318"/>
            <a:ext cx="595440" cy="370757"/>
            <a:chOff x="248864" y="1309239"/>
            <a:chExt cx="1116830" cy="695406"/>
          </a:xfrm>
        </p:grpSpPr>
        <p:sp>
          <p:nvSpPr>
            <p:cNvPr id="15" name="Freeform: Shape 14">
              <a:extLst>
                <a:ext uri="{FF2B5EF4-FFF2-40B4-BE49-F238E27FC236}">
                  <a16:creationId xmlns:a16="http://schemas.microsoft.com/office/drawing/2014/main" id="{D6B1EA1D-AF85-4582-B713-59B65B319019}"/>
                </a:ext>
              </a:extLst>
            </p:cNvPr>
            <p:cNvSpPr/>
            <p:nvPr/>
          </p:nvSpPr>
          <p:spPr bwMode="gray">
            <a:xfrm>
              <a:off x="653702" y="1382595"/>
              <a:ext cx="314326" cy="552451"/>
            </a:xfrm>
            <a:custGeom>
              <a:avLst/>
              <a:gdLst>
                <a:gd name="connsiteX0" fmla="*/ 7144 w 314325"/>
                <a:gd name="connsiteY0" fmla="*/ 7144 h 552450"/>
                <a:gd name="connsiteX1" fmla="*/ 307181 w 314325"/>
                <a:gd name="connsiteY1" fmla="*/ 7144 h 552450"/>
                <a:gd name="connsiteX2" fmla="*/ 307181 w 314325"/>
                <a:gd name="connsiteY2" fmla="*/ 546354 h 552450"/>
                <a:gd name="connsiteX3" fmla="*/ 7144 w 314325"/>
                <a:gd name="connsiteY3" fmla="*/ 546354 h 552450"/>
              </a:gdLst>
              <a:ahLst/>
              <a:cxnLst>
                <a:cxn ang="0">
                  <a:pos x="connsiteX0" y="connsiteY0"/>
                </a:cxn>
                <a:cxn ang="0">
                  <a:pos x="connsiteX1" y="connsiteY1"/>
                </a:cxn>
                <a:cxn ang="0">
                  <a:pos x="connsiteX2" y="connsiteY2"/>
                </a:cxn>
                <a:cxn ang="0">
                  <a:pos x="connsiteX3" y="connsiteY3"/>
                </a:cxn>
              </a:cxnLst>
              <a:rect l="l" t="t" r="r" b="b"/>
              <a:pathLst>
                <a:path w="314325" h="552450">
                  <a:moveTo>
                    <a:pt x="7144" y="7144"/>
                  </a:moveTo>
                  <a:lnTo>
                    <a:pt x="307181" y="7144"/>
                  </a:lnTo>
                  <a:lnTo>
                    <a:pt x="307181" y="546354"/>
                  </a:lnTo>
                  <a:lnTo>
                    <a:pt x="7144" y="546354"/>
                  </a:lnTo>
                  <a:close/>
                </a:path>
              </a:pathLst>
            </a:custGeom>
            <a:solidFill>
              <a:srgbClr val="FF5F00"/>
            </a:solidFill>
            <a:ln w="9525" cap="flat">
              <a:noFill/>
              <a:prstDash val="solid"/>
              <a:miter/>
            </a:ln>
          </p:spPr>
          <p:txBody>
            <a:bodyPr rtlCol="0" anchor="ctr"/>
            <a:lstStyle/>
            <a:p>
              <a:pPr lvl="0"/>
              <a:endParaRPr lang="en-US"/>
            </a:p>
          </p:txBody>
        </p:sp>
        <p:sp>
          <p:nvSpPr>
            <p:cNvPr id="16" name="Freeform: Shape 15">
              <a:extLst>
                <a:ext uri="{FF2B5EF4-FFF2-40B4-BE49-F238E27FC236}">
                  <a16:creationId xmlns:a16="http://schemas.microsoft.com/office/drawing/2014/main" id="{98CE11EF-BDAB-4188-9F79-B9A1F623891D}"/>
                </a:ext>
              </a:extLst>
            </p:cNvPr>
            <p:cNvSpPr/>
            <p:nvPr/>
          </p:nvSpPr>
          <p:spPr bwMode="gray">
            <a:xfrm>
              <a:off x="248864" y="1309239"/>
              <a:ext cx="561975" cy="695324"/>
            </a:xfrm>
            <a:custGeom>
              <a:avLst/>
              <a:gdLst>
                <a:gd name="connsiteX0" fmla="*/ 431031 w 561975"/>
                <a:gd name="connsiteY0" fmla="*/ 350058 h 695325"/>
                <a:gd name="connsiteX1" fmla="*/ 562000 w 561975"/>
                <a:gd name="connsiteY1" fmla="*/ 80501 h 695325"/>
                <a:gd name="connsiteX2" fmla="*/ 80501 w 561975"/>
                <a:gd name="connsiteY2" fmla="*/ 138117 h 695325"/>
                <a:gd name="connsiteX3" fmla="*/ 138117 w 561975"/>
                <a:gd name="connsiteY3" fmla="*/ 619616 h 695325"/>
                <a:gd name="connsiteX4" fmla="*/ 562000 w 561975"/>
                <a:gd name="connsiteY4" fmla="*/ 619616 h 695325"/>
                <a:gd name="connsiteX5" fmla="*/ 431031 w 561975"/>
                <a:gd name="connsiteY5" fmla="*/ 35005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975" h="695325">
                  <a:moveTo>
                    <a:pt x="431031" y="350058"/>
                  </a:moveTo>
                  <a:cubicBezTo>
                    <a:pt x="430905" y="244845"/>
                    <a:pt x="479209" y="145428"/>
                    <a:pt x="562000" y="80501"/>
                  </a:cubicBezTo>
                  <a:cubicBezTo>
                    <a:pt x="413127" y="-36551"/>
                    <a:pt x="197553" y="-10756"/>
                    <a:pt x="80501" y="138117"/>
                  </a:cubicBezTo>
                  <a:cubicBezTo>
                    <a:pt x="-36551" y="286989"/>
                    <a:pt x="-10756" y="502564"/>
                    <a:pt x="138117" y="619616"/>
                  </a:cubicBezTo>
                  <a:cubicBezTo>
                    <a:pt x="262491" y="717406"/>
                    <a:pt x="437626" y="717406"/>
                    <a:pt x="562000" y="619616"/>
                  </a:cubicBezTo>
                  <a:cubicBezTo>
                    <a:pt x="479209" y="554688"/>
                    <a:pt x="430905" y="455272"/>
                    <a:pt x="431031" y="350058"/>
                  </a:cubicBezTo>
                  <a:close/>
                </a:path>
              </a:pathLst>
            </a:custGeom>
            <a:solidFill>
              <a:srgbClr val="EB001B"/>
            </a:solidFill>
            <a:ln w="9525" cap="flat">
              <a:noFill/>
              <a:prstDash val="solid"/>
              <a:miter/>
            </a:ln>
          </p:spPr>
          <p:txBody>
            <a:bodyPr rtlCol="0" anchor="ctr"/>
            <a:lstStyle/>
            <a:p>
              <a:pPr lvl="0"/>
              <a:endParaRPr lang="en-US"/>
            </a:p>
          </p:txBody>
        </p:sp>
        <p:sp>
          <p:nvSpPr>
            <p:cNvPr id="17" name="Freeform: Shape 16">
              <a:extLst>
                <a:ext uri="{FF2B5EF4-FFF2-40B4-BE49-F238E27FC236}">
                  <a16:creationId xmlns:a16="http://schemas.microsoft.com/office/drawing/2014/main" id="{06FB5709-A4E1-44C9-AF52-CBCBBC9D5711}"/>
                </a:ext>
              </a:extLst>
            </p:cNvPr>
            <p:cNvSpPr/>
            <p:nvPr/>
          </p:nvSpPr>
          <p:spPr bwMode="gray">
            <a:xfrm>
              <a:off x="803719" y="1309321"/>
              <a:ext cx="561975" cy="695324"/>
            </a:xfrm>
            <a:custGeom>
              <a:avLst/>
              <a:gdLst>
                <a:gd name="connsiteX0" fmla="*/ 561880 w 561975"/>
                <a:gd name="connsiteY0" fmla="*/ 349975 h 695325"/>
                <a:gd name="connsiteX1" fmla="*/ 218897 w 561975"/>
                <a:gd name="connsiteY1" fmla="*/ 692793 h 695325"/>
                <a:gd name="connsiteX2" fmla="*/ 7144 w 561975"/>
                <a:gd name="connsiteY2" fmla="*/ 619533 h 695325"/>
                <a:gd name="connsiteX3" fmla="*/ 64760 w 561975"/>
                <a:gd name="connsiteY3" fmla="*/ 138034 h 695325"/>
                <a:gd name="connsiteX4" fmla="*/ 7144 w 561975"/>
                <a:gd name="connsiteY4" fmla="*/ 80418 h 695325"/>
                <a:gd name="connsiteX5" fmla="*/ 488620 w 561975"/>
                <a:gd name="connsiteY5" fmla="*/ 138222 h 695325"/>
                <a:gd name="connsiteX6" fmla="*/ 561880 w 561975"/>
                <a:gd name="connsiteY6" fmla="*/ 349975 h 695325"/>
                <a:gd name="connsiteX7" fmla="*/ 529209 w 561975"/>
                <a:gd name="connsiteY7" fmla="*/ 562478 h 695325"/>
                <a:gd name="connsiteX8" fmla="*/ 529209 w 561975"/>
                <a:gd name="connsiteY8" fmla="*/ 551429 h 695325"/>
                <a:gd name="connsiteX9" fmla="*/ 533686 w 561975"/>
                <a:gd name="connsiteY9" fmla="*/ 551429 h 695325"/>
                <a:gd name="connsiteX10" fmla="*/ 533686 w 561975"/>
                <a:gd name="connsiteY10" fmla="*/ 549143 h 695325"/>
                <a:gd name="connsiteX11" fmla="*/ 522446 w 561975"/>
                <a:gd name="connsiteY11" fmla="*/ 549143 h 695325"/>
                <a:gd name="connsiteX12" fmla="*/ 522446 w 561975"/>
                <a:gd name="connsiteY12" fmla="*/ 551429 h 695325"/>
                <a:gd name="connsiteX13" fmla="*/ 526828 w 561975"/>
                <a:gd name="connsiteY13" fmla="*/ 551429 h 695325"/>
                <a:gd name="connsiteX14" fmla="*/ 526828 w 561975"/>
                <a:gd name="connsiteY14" fmla="*/ 562478 h 695325"/>
                <a:gd name="connsiteX15" fmla="*/ 551212 w 561975"/>
                <a:gd name="connsiteY15" fmla="*/ 562478 h 695325"/>
                <a:gd name="connsiteX16" fmla="*/ 551212 w 561975"/>
                <a:gd name="connsiteY16" fmla="*/ 549143 h 695325"/>
                <a:gd name="connsiteX17" fmla="*/ 547687 w 561975"/>
                <a:gd name="connsiteY17" fmla="*/ 549143 h 695325"/>
                <a:gd name="connsiteX18" fmla="*/ 543687 w 561975"/>
                <a:gd name="connsiteY18" fmla="*/ 558668 h 695325"/>
                <a:gd name="connsiteX19" fmla="*/ 539686 w 561975"/>
                <a:gd name="connsiteY19" fmla="*/ 549143 h 695325"/>
                <a:gd name="connsiteX20" fmla="*/ 536258 w 561975"/>
                <a:gd name="connsiteY20" fmla="*/ 549143 h 695325"/>
                <a:gd name="connsiteX21" fmla="*/ 536258 w 561975"/>
                <a:gd name="connsiteY21" fmla="*/ 562478 h 695325"/>
                <a:gd name="connsiteX22" fmla="*/ 538734 w 561975"/>
                <a:gd name="connsiteY22" fmla="*/ 562478 h 695325"/>
                <a:gd name="connsiteX23" fmla="*/ 538734 w 561975"/>
                <a:gd name="connsiteY23" fmla="*/ 552382 h 695325"/>
                <a:gd name="connsiteX24" fmla="*/ 542449 w 561975"/>
                <a:gd name="connsiteY24" fmla="*/ 561049 h 695325"/>
                <a:gd name="connsiteX25" fmla="*/ 545020 w 561975"/>
                <a:gd name="connsiteY25" fmla="*/ 561049 h 695325"/>
                <a:gd name="connsiteX26" fmla="*/ 548735 w 561975"/>
                <a:gd name="connsiteY26" fmla="*/ 552382 h 695325"/>
                <a:gd name="connsiteX27" fmla="*/ 548735 w 561975"/>
                <a:gd name="connsiteY27" fmla="*/ 56247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61975" h="695325">
                  <a:moveTo>
                    <a:pt x="561880" y="349975"/>
                  </a:moveTo>
                  <a:cubicBezTo>
                    <a:pt x="561834" y="539354"/>
                    <a:pt x="408276" y="692838"/>
                    <a:pt x="218897" y="692793"/>
                  </a:cubicBezTo>
                  <a:cubicBezTo>
                    <a:pt x="142100" y="692774"/>
                    <a:pt x="67533" y="666976"/>
                    <a:pt x="7144" y="619533"/>
                  </a:cubicBezTo>
                  <a:cubicBezTo>
                    <a:pt x="156016" y="502481"/>
                    <a:pt x="181812" y="286906"/>
                    <a:pt x="64760" y="138034"/>
                  </a:cubicBezTo>
                  <a:cubicBezTo>
                    <a:pt x="47913" y="116607"/>
                    <a:pt x="28571" y="97265"/>
                    <a:pt x="7144" y="80418"/>
                  </a:cubicBezTo>
                  <a:cubicBezTo>
                    <a:pt x="156062" y="-36576"/>
                    <a:pt x="371626" y="-10696"/>
                    <a:pt x="488620" y="138222"/>
                  </a:cubicBezTo>
                  <a:cubicBezTo>
                    <a:pt x="536063" y="198612"/>
                    <a:pt x="561861" y="273179"/>
                    <a:pt x="561880" y="349975"/>
                  </a:cubicBezTo>
                  <a:close/>
                  <a:moveTo>
                    <a:pt x="529209" y="562478"/>
                  </a:moveTo>
                  <a:lnTo>
                    <a:pt x="529209" y="551429"/>
                  </a:lnTo>
                  <a:lnTo>
                    <a:pt x="533686" y="551429"/>
                  </a:lnTo>
                  <a:lnTo>
                    <a:pt x="533686" y="549143"/>
                  </a:lnTo>
                  <a:lnTo>
                    <a:pt x="522446" y="549143"/>
                  </a:lnTo>
                  <a:lnTo>
                    <a:pt x="522446" y="551429"/>
                  </a:lnTo>
                  <a:lnTo>
                    <a:pt x="526828" y="551429"/>
                  </a:lnTo>
                  <a:lnTo>
                    <a:pt x="526828" y="562478"/>
                  </a:lnTo>
                  <a:close/>
                  <a:moveTo>
                    <a:pt x="551212" y="562478"/>
                  </a:moveTo>
                  <a:lnTo>
                    <a:pt x="551212" y="549143"/>
                  </a:lnTo>
                  <a:lnTo>
                    <a:pt x="547687" y="549143"/>
                  </a:lnTo>
                  <a:lnTo>
                    <a:pt x="543687" y="558668"/>
                  </a:lnTo>
                  <a:lnTo>
                    <a:pt x="539686" y="549143"/>
                  </a:lnTo>
                  <a:lnTo>
                    <a:pt x="536258" y="549143"/>
                  </a:lnTo>
                  <a:lnTo>
                    <a:pt x="536258" y="562478"/>
                  </a:lnTo>
                  <a:lnTo>
                    <a:pt x="538734" y="562478"/>
                  </a:lnTo>
                  <a:lnTo>
                    <a:pt x="538734" y="552382"/>
                  </a:lnTo>
                  <a:lnTo>
                    <a:pt x="542449" y="561049"/>
                  </a:lnTo>
                  <a:lnTo>
                    <a:pt x="545020" y="561049"/>
                  </a:lnTo>
                  <a:lnTo>
                    <a:pt x="548735" y="552382"/>
                  </a:lnTo>
                  <a:lnTo>
                    <a:pt x="548735" y="562478"/>
                  </a:lnTo>
                  <a:close/>
                </a:path>
              </a:pathLst>
            </a:custGeom>
            <a:solidFill>
              <a:srgbClr val="F79E1B"/>
            </a:solid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17368449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ection Divider LG Custom Image - Dark">
    <p:bg bwMode="gray">
      <p:bgPr>
        <a:solidFill>
          <a:srgbClr val="242423"/>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49907014-6222-48C8-8BF4-F1CD909E9091}"/>
              </a:ext>
            </a:extLst>
          </p:cNvPr>
          <p:cNvSpPr>
            <a:spLocks noGrp="1"/>
          </p:cNvSpPr>
          <p:nvPr>
            <p:ph type="pic" sz="quarter" idx="11" hasCustomPrompt="1"/>
          </p:nvPr>
        </p:nvSpPr>
        <p:spPr bwMode="gray">
          <a:xfrm>
            <a:off x="0" y="0"/>
            <a:ext cx="9144000" cy="5143500"/>
          </a:xfrm>
        </p:spPr>
        <p:txBody>
          <a:bodyPr bIns="2011680" anchor="b" anchorCtr="0"/>
          <a:lstStyle>
            <a:lvl1pPr marL="0" indent="0" algn="ctr">
              <a:buNone/>
              <a:defRPr sz="1200">
                <a:solidFill>
                  <a:srgbClr val="B9B9B9"/>
                </a:solidFill>
                <a:latin typeface="+mn-lt"/>
              </a:defRPr>
            </a:lvl1pPr>
          </a:lstStyle>
          <a:p>
            <a:r>
              <a:rPr lang="en-US"/>
              <a:t>Click icon to add image.</a:t>
            </a:r>
            <a:br>
              <a:rPr lang="en-US"/>
            </a:br>
            <a:r>
              <a:rPr lang="en-US"/>
              <a:t>Get </a:t>
            </a:r>
            <a:r>
              <a:rPr lang="en-US" err="1"/>
              <a:t>Mastercard</a:t>
            </a:r>
            <a:r>
              <a:rPr lang="en-US"/>
              <a:t> approved photography and</a:t>
            </a:r>
            <a:br>
              <a:rPr lang="en-US"/>
            </a:br>
            <a:r>
              <a:rPr lang="en-US"/>
              <a:t>imagery guidelines at designcenter.mastercard.com.</a:t>
            </a:r>
          </a:p>
        </p:txBody>
      </p:sp>
      <p:sp>
        <p:nvSpPr>
          <p:cNvPr id="13" name="Text Placeholder 2"/>
          <p:cNvSpPr>
            <a:spLocks noGrp="1"/>
          </p:cNvSpPr>
          <p:nvPr>
            <p:ph type="body" idx="1" hasCustomPrompt="1"/>
          </p:nvPr>
        </p:nvSpPr>
        <p:spPr bwMode="gray">
          <a:xfrm>
            <a:off x="164593" y="292608"/>
            <a:ext cx="4198001" cy="321562"/>
          </a:xfrm>
        </p:spPr>
        <p:txBody>
          <a:bodyPr/>
          <a:lstStyle>
            <a:lvl1pPr marL="0" indent="0">
              <a:buNone/>
              <a:defRPr sz="1600" b="1">
                <a:solidFill>
                  <a:srgbClr val="FFFFFF"/>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a:t>Click to add section number</a:t>
            </a:r>
          </a:p>
        </p:txBody>
      </p:sp>
      <p:sp>
        <p:nvSpPr>
          <p:cNvPr id="2" name="Title 1"/>
          <p:cNvSpPr>
            <a:spLocks noGrp="1"/>
          </p:cNvSpPr>
          <p:nvPr>
            <p:ph type="title" hasCustomPrompt="1"/>
          </p:nvPr>
        </p:nvSpPr>
        <p:spPr bwMode="gray">
          <a:xfrm>
            <a:off x="164594" y="723696"/>
            <a:ext cx="4198001" cy="1034129"/>
          </a:xfrm>
        </p:spPr>
        <p:txBody>
          <a:bodyPr anchor="t" anchorCtr="0"/>
          <a:lstStyle>
            <a:lvl1pPr>
              <a:defRPr sz="3400" b="0">
                <a:solidFill>
                  <a:srgbClr val="FFFFFF"/>
                </a:solidFill>
                <a:latin typeface="Mark Offc For MC Extra Light" panose="020B0404020101010102" pitchFamily="34" charset="0"/>
              </a:defRPr>
            </a:lvl1pPr>
          </a:lstStyle>
          <a:p>
            <a:r>
              <a:rPr lang="en-US"/>
              <a:t>Click to add section title</a:t>
            </a:r>
          </a:p>
        </p:txBody>
      </p:sp>
      <p:grpSp>
        <p:nvGrpSpPr>
          <p:cNvPr id="12" name="Graphic 9">
            <a:extLst>
              <a:ext uri="{FF2B5EF4-FFF2-40B4-BE49-F238E27FC236}">
                <a16:creationId xmlns:a16="http://schemas.microsoft.com/office/drawing/2014/main" id="{835165F6-C617-48D4-88BD-8DAB507BC64F}"/>
              </a:ext>
            </a:extLst>
          </p:cNvPr>
          <p:cNvGrpSpPr>
            <a:grpSpLocks noChangeAspect="1"/>
          </p:cNvGrpSpPr>
          <p:nvPr userDrawn="1"/>
        </p:nvGrpSpPr>
        <p:grpSpPr bwMode="gray">
          <a:xfrm>
            <a:off x="8288899" y="258318"/>
            <a:ext cx="595440" cy="370757"/>
            <a:chOff x="248864" y="1309239"/>
            <a:chExt cx="1116830" cy="695406"/>
          </a:xfrm>
        </p:grpSpPr>
        <p:sp>
          <p:nvSpPr>
            <p:cNvPr id="14" name="Freeform: Shape 13">
              <a:extLst>
                <a:ext uri="{FF2B5EF4-FFF2-40B4-BE49-F238E27FC236}">
                  <a16:creationId xmlns:a16="http://schemas.microsoft.com/office/drawing/2014/main" id="{325E62B0-9698-40CD-98C6-5E76706D8EEE}"/>
                </a:ext>
              </a:extLst>
            </p:cNvPr>
            <p:cNvSpPr/>
            <p:nvPr/>
          </p:nvSpPr>
          <p:spPr bwMode="gray">
            <a:xfrm>
              <a:off x="653702" y="1382595"/>
              <a:ext cx="314326" cy="552451"/>
            </a:xfrm>
            <a:custGeom>
              <a:avLst/>
              <a:gdLst>
                <a:gd name="connsiteX0" fmla="*/ 7144 w 314325"/>
                <a:gd name="connsiteY0" fmla="*/ 7144 h 552450"/>
                <a:gd name="connsiteX1" fmla="*/ 307181 w 314325"/>
                <a:gd name="connsiteY1" fmla="*/ 7144 h 552450"/>
                <a:gd name="connsiteX2" fmla="*/ 307181 w 314325"/>
                <a:gd name="connsiteY2" fmla="*/ 546354 h 552450"/>
                <a:gd name="connsiteX3" fmla="*/ 7144 w 314325"/>
                <a:gd name="connsiteY3" fmla="*/ 546354 h 552450"/>
              </a:gdLst>
              <a:ahLst/>
              <a:cxnLst>
                <a:cxn ang="0">
                  <a:pos x="connsiteX0" y="connsiteY0"/>
                </a:cxn>
                <a:cxn ang="0">
                  <a:pos x="connsiteX1" y="connsiteY1"/>
                </a:cxn>
                <a:cxn ang="0">
                  <a:pos x="connsiteX2" y="connsiteY2"/>
                </a:cxn>
                <a:cxn ang="0">
                  <a:pos x="connsiteX3" y="connsiteY3"/>
                </a:cxn>
              </a:cxnLst>
              <a:rect l="l" t="t" r="r" b="b"/>
              <a:pathLst>
                <a:path w="314325" h="552450">
                  <a:moveTo>
                    <a:pt x="7144" y="7144"/>
                  </a:moveTo>
                  <a:lnTo>
                    <a:pt x="307181" y="7144"/>
                  </a:lnTo>
                  <a:lnTo>
                    <a:pt x="307181" y="546354"/>
                  </a:lnTo>
                  <a:lnTo>
                    <a:pt x="7144" y="546354"/>
                  </a:lnTo>
                  <a:close/>
                </a:path>
              </a:pathLst>
            </a:custGeom>
            <a:solidFill>
              <a:srgbClr val="FF5F00"/>
            </a:solidFill>
            <a:ln w="9525" cap="flat">
              <a:noFill/>
              <a:prstDash val="solid"/>
              <a:miter/>
            </a:ln>
          </p:spPr>
          <p:txBody>
            <a:bodyPr rtlCol="0" anchor="ctr"/>
            <a:lstStyle/>
            <a:p>
              <a:pPr lvl="0"/>
              <a:endParaRPr lang="en-US"/>
            </a:p>
          </p:txBody>
        </p:sp>
        <p:sp>
          <p:nvSpPr>
            <p:cNvPr id="15" name="Freeform: Shape 14">
              <a:extLst>
                <a:ext uri="{FF2B5EF4-FFF2-40B4-BE49-F238E27FC236}">
                  <a16:creationId xmlns:a16="http://schemas.microsoft.com/office/drawing/2014/main" id="{551BD7A6-CF8A-491C-A7B1-3AC7F0BAC2CD}"/>
                </a:ext>
              </a:extLst>
            </p:cNvPr>
            <p:cNvSpPr/>
            <p:nvPr/>
          </p:nvSpPr>
          <p:spPr bwMode="gray">
            <a:xfrm>
              <a:off x="248864" y="1309239"/>
              <a:ext cx="561975" cy="695324"/>
            </a:xfrm>
            <a:custGeom>
              <a:avLst/>
              <a:gdLst>
                <a:gd name="connsiteX0" fmla="*/ 431031 w 561975"/>
                <a:gd name="connsiteY0" fmla="*/ 350058 h 695325"/>
                <a:gd name="connsiteX1" fmla="*/ 562000 w 561975"/>
                <a:gd name="connsiteY1" fmla="*/ 80501 h 695325"/>
                <a:gd name="connsiteX2" fmla="*/ 80501 w 561975"/>
                <a:gd name="connsiteY2" fmla="*/ 138117 h 695325"/>
                <a:gd name="connsiteX3" fmla="*/ 138117 w 561975"/>
                <a:gd name="connsiteY3" fmla="*/ 619616 h 695325"/>
                <a:gd name="connsiteX4" fmla="*/ 562000 w 561975"/>
                <a:gd name="connsiteY4" fmla="*/ 619616 h 695325"/>
                <a:gd name="connsiteX5" fmla="*/ 431031 w 561975"/>
                <a:gd name="connsiteY5" fmla="*/ 35005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975" h="695325">
                  <a:moveTo>
                    <a:pt x="431031" y="350058"/>
                  </a:moveTo>
                  <a:cubicBezTo>
                    <a:pt x="430905" y="244845"/>
                    <a:pt x="479209" y="145428"/>
                    <a:pt x="562000" y="80501"/>
                  </a:cubicBezTo>
                  <a:cubicBezTo>
                    <a:pt x="413127" y="-36551"/>
                    <a:pt x="197553" y="-10756"/>
                    <a:pt x="80501" y="138117"/>
                  </a:cubicBezTo>
                  <a:cubicBezTo>
                    <a:pt x="-36551" y="286989"/>
                    <a:pt x="-10756" y="502564"/>
                    <a:pt x="138117" y="619616"/>
                  </a:cubicBezTo>
                  <a:cubicBezTo>
                    <a:pt x="262491" y="717406"/>
                    <a:pt x="437626" y="717406"/>
                    <a:pt x="562000" y="619616"/>
                  </a:cubicBezTo>
                  <a:cubicBezTo>
                    <a:pt x="479209" y="554688"/>
                    <a:pt x="430905" y="455272"/>
                    <a:pt x="431031" y="350058"/>
                  </a:cubicBezTo>
                  <a:close/>
                </a:path>
              </a:pathLst>
            </a:custGeom>
            <a:solidFill>
              <a:srgbClr val="EB001B"/>
            </a:solidFill>
            <a:ln w="9525" cap="flat">
              <a:noFill/>
              <a:prstDash val="solid"/>
              <a:miter/>
            </a:ln>
          </p:spPr>
          <p:txBody>
            <a:bodyPr rtlCol="0" anchor="ctr"/>
            <a:lstStyle/>
            <a:p>
              <a:pPr lvl="0"/>
              <a:endParaRPr lang="en-US"/>
            </a:p>
          </p:txBody>
        </p:sp>
        <p:sp>
          <p:nvSpPr>
            <p:cNvPr id="16" name="Freeform: Shape 15">
              <a:extLst>
                <a:ext uri="{FF2B5EF4-FFF2-40B4-BE49-F238E27FC236}">
                  <a16:creationId xmlns:a16="http://schemas.microsoft.com/office/drawing/2014/main" id="{182A0427-CDA9-4104-80E0-62E1A331DB94}"/>
                </a:ext>
              </a:extLst>
            </p:cNvPr>
            <p:cNvSpPr/>
            <p:nvPr/>
          </p:nvSpPr>
          <p:spPr bwMode="gray">
            <a:xfrm>
              <a:off x="803719" y="1309321"/>
              <a:ext cx="561975" cy="695324"/>
            </a:xfrm>
            <a:custGeom>
              <a:avLst/>
              <a:gdLst>
                <a:gd name="connsiteX0" fmla="*/ 561880 w 561975"/>
                <a:gd name="connsiteY0" fmla="*/ 349975 h 695325"/>
                <a:gd name="connsiteX1" fmla="*/ 218897 w 561975"/>
                <a:gd name="connsiteY1" fmla="*/ 692793 h 695325"/>
                <a:gd name="connsiteX2" fmla="*/ 7144 w 561975"/>
                <a:gd name="connsiteY2" fmla="*/ 619533 h 695325"/>
                <a:gd name="connsiteX3" fmla="*/ 64760 w 561975"/>
                <a:gd name="connsiteY3" fmla="*/ 138034 h 695325"/>
                <a:gd name="connsiteX4" fmla="*/ 7144 w 561975"/>
                <a:gd name="connsiteY4" fmla="*/ 80418 h 695325"/>
                <a:gd name="connsiteX5" fmla="*/ 488620 w 561975"/>
                <a:gd name="connsiteY5" fmla="*/ 138222 h 695325"/>
                <a:gd name="connsiteX6" fmla="*/ 561880 w 561975"/>
                <a:gd name="connsiteY6" fmla="*/ 349975 h 695325"/>
                <a:gd name="connsiteX7" fmla="*/ 529209 w 561975"/>
                <a:gd name="connsiteY7" fmla="*/ 562478 h 695325"/>
                <a:gd name="connsiteX8" fmla="*/ 529209 w 561975"/>
                <a:gd name="connsiteY8" fmla="*/ 551429 h 695325"/>
                <a:gd name="connsiteX9" fmla="*/ 533686 w 561975"/>
                <a:gd name="connsiteY9" fmla="*/ 551429 h 695325"/>
                <a:gd name="connsiteX10" fmla="*/ 533686 w 561975"/>
                <a:gd name="connsiteY10" fmla="*/ 549143 h 695325"/>
                <a:gd name="connsiteX11" fmla="*/ 522446 w 561975"/>
                <a:gd name="connsiteY11" fmla="*/ 549143 h 695325"/>
                <a:gd name="connsiteX12" fmla="*/ 522446 w 561975"/>
                <a:gd name="connsiteY12" fmla="*/ 551429 h 695325"/>
                <a:gd name="connsiteX13" fmla="*/ 526828 w 561975"/>
                <a:gd name="connsiteY13" fmla="*/ 551429 h 695325"/>
                <a:gd name="connsiteX14" fmla="*/ 526828 w 561975"/>
                <a:gd name="connsiteY14" fmla="*/ 562478 h 695325"/>
                <a:gd name="connsiteX15" fmla="*/ 551212 w 561975"/>
                <a:gd name="connsiteY15" fmla="*/ 562478 h 695325"/>
                <a:gd name="connsiteX16" fmla="*/ 551212 w 561975"/>
                <a:gd name="connsiteY16" fmla="*/ 549143 h 695325"/>
                <a:gd name="connsiteX17" fmla="*/ 547687 w 561975"/>
                <a:gd name="connsiteY17" fmla="*/ 549143 h 695325"/>
                <a:gd name="connsiteX18" fmla="*/ 543687 w 561975"/>
                <a:gd name="connsiteY18" fmla="*/ 558668 h 695325"/>
                <a:gd name="connsiteX19" fmla="*/ 539686 w 561975"/>
                <a:gd name="connsiteY19" fmla="*/ 549143 h 695325"/>
                <a:gd name="connsiteX20" fmla="*/ 536258 w 561975"/>
                <a:gd name="connsiteY20" fmla="*/ 549143 h 695325"/>
                <a:gd name="connsiteX21" fmla="*/ 536258 w 561975"/>
                <a:gd name="connsiteY21" fmla="*/ 562478 h 695325"/>
                <a:gd name="connsiteX22" fmla="*/ 538734 w 561975"/>
                <a:gd name="connsiteY22" fmla="*/ 562478 h 695325"/>
                <a:gd name="connsiteX23" fmla="*/ 538734 w 561975"/>
                <a:gd name="connsiteY23" fmla="*/ 552382 h 695325"/>
                <a:gd name="connsiteX24" fmla="*/ 542449 w 561975"/>
                <a:gd name="connsiteY24" fmla="*/ 561049 h 695325"/>
                <a:gd name="connsiteX25" fmla="*/ 545020 w 561975"/>
                <a:gd name="connsiteY25" fmla="*/ 561049 h 695325"/>
                <a:gd name="connsiteX26" fmla="*/ 548735 w 561975"/>
                <a:gd name="connsiteY26" fmla="*/ 552382 h 695325"/>
                <a:gd name="connsiteX27" fmla="*/ 548735 w 561975"/>
                <a:gd name="connsiteY27" fmla="*/ 56247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61975" h="695325">
                  <a:moveTo>
                    <a:pt x="561880" y="349975"/>
                  </a:moveTo>
                  <a:cubicBezTo>
                    <a:pt x="561834" y="539354"/>
                    <a:pt x="408276" y="692838"/>
                    <a:pt x="218897" y="692793"/>
                  </a:cubicBezTo>
                  <a:cubicBezTo>
                    <a:pt x="142100" y="692774"/>
                    <a:pt x="67533" y="666976"/>
                    <a:pt x="7144" y="619533"/>
                  </a:cubicBezTo>
                  <a:cubicBezTo>
                    <a:pt x="156016" y="502481"/>
                    <a:pt x="181812" y="286906"/>
                    <a:pt x="64760" y="138034"/>
                  </a:cubicBezTo>
                  <a:cubicBezTo>
                    <a:pt x="47913" y="116607"/>
                    <a:pt x="28571" y="97265"/>
                    <a:pt x="7144" y="80418"/>
                  </a:cubicBezTo>
                  <a:cubicBezTo>
                    <a:pt x="156062" y="-36576"/>
                    <a:pt x="371626" y="-10696"/>
                    <a:pt x="488620" y="138222"/>
                  </a:cubicBezTo>
                  <a:cubicBezTo>
                    <a:pt x="536063" y="198612"/>
                    <a:pt x="561861" y="273179"/>
                    <a:pt x="561880" y="349975"/>
                  </a:cubicBezTo>
                  <a:close/>
                  <a:moveTo>
                    <a:pt x="529209" y="562478"/>
                  </a:moveTo>
                  <a:lnTo>
                    <a:pt x="529209" y="551429"/>
                  </a:lnTo>
                  <a:lnTo>
                    <a:pt x="533686" y="551429"/>
                  </a:lnTo>
                  <a:lnTo>
                    <a:pt x="533686" y="549143"/>
                  </a:lnTo>
                  <a:lnTo>
                    <a:pt x="522446" y="549143"/>
                  </a:lnTo>
                  <a:lnTo>
                    <a:pt x="522446" y="551429"/>
                  </a:lnTo>
                  <a:lnTo>
                    <a:pt x="526828" y="551429"/>
                  </a:lnTo>
                  <a:lnTo>
                    <a:pt x="526828" y="562478"/>
                  </a:lnTo>
                  <a:close/>
                  <a:moveTo>
                    <a:pt x="551212" y="562478"/>
                  </a:moveTo>
                  <a:lnTo>
                    <a:pt x="551212" y="549143"/>
                  </a:lnTo>
                  <a:lnTo>
                    <a:pt x="547687" y="549143"/>
                  </a:lnTo>
                  <a:lnTo>
                    <a:pt x="543687" y="558668"/>
                  </a:lnTo>
                  <a:lnTo>
                    <a:pt x="539686" y="549143"/>
                  </a:lnTo>
                  <a:lnTo>
                    <a:pt x="536258" y="549143"/>
                  </a:lnTo>
                  <a:lnTo>
                    <a:pt x="536258" y="562478"/>
                  </a:lnTo>
                  <a:lnTo>
                    <a:pt x="538734" y="562478"/>
                  </a:lnTo>
                  <a:lnTo>
                    <a:pt x="538734" y="552382"/>
                  </a:lnTo>
                  <a:lnTo>
                    <a:pt x="542449" y="561049"/>
                  </a:lnTo>
                  <a:lnTo>
                    <a:pt x="545020" y="561049"/>
                  </a:lnTo>
                  <a:lnTo>
                    <a:pt x="548735" y="552382"/>
                  </a:lnTo>
                  <a:lnTo>
                    <a:pt x="548735" y="562478"/>
                  </a:lnTo>
                  <a:close/>
                </a:path>
              </a:pathLst>
            </a:custGeom>
            <a:solidFill>
              <a:srgbClr val="F79E1B"/>
            </a:solid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9714977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ection Divider LG Custom Image - Light">
    <p:bg bwMode="gray">
      <p:bgPr>
        <a:solidFill>
          <a:schemeClr val="bg1"/>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D68F5605-B119-4D18-B4B6-D5629B44364B}"/>
              </a:ext>
            </a:extLst>
          </p:cNvPr>
          <p:cNvSpPr>
            <a:spLocks noGrp="1"/>
          </p:cNvSpPr>
          <p:nvPr>
            <p:ph type="pic" sz="quarter" idx="11" hasCustomPrompt="1"/>
          </p:nvPr>
        </p:nvSpPr>
        <p:spPr bwMode="gray">
          <a:xfrm>
            <a:off x="0" y="0"/>
            <a:ext cx="9144000" cy="5143500"/>
          </a:xfrm>
        </p:spPr>
        <p:txBody>
          <a:bodyPr bIns="2011680" anchor="b" anchorCtr="0"/>
          <a:lstStyle>
            <a:lvl1pPr marL="0" indent="0" algn="ctr">
              <a:buNone/>
              <a:defRPr sz="1200">
                <a:solidFill>
                  <a:srgbClr val="B9B9B9"/>
                </a:solidFill>
                <a:latin typeface="+mn-lt"/>
              </a:defRPr>
            </a:lvl1pPr>
          </a:lstStyle>
          <a:p>
            <a:r>
              <a:rPr lang="en-US"/>
              <a:t>Click icon to add image.</a:t>
            </a:r>
            <a:br>
              <a:rPr lang="en-US"/>
            </a:br>
            <a:r>
              <a:rPr lang="en-US"/>
              <a:t>Get </a:t>
            </a:r>
            <a:r>
              <a:rPr lang="en-US" err="1"/>
              <a:t>Mastercard</a:t>
            </a:r>
            <a:r>
              <a:rPr lang="en-US"/>
              <a:t> approved photography and</a:t>
            </a:r>
            <a:br>
              <a:rPr lang="en-US"/>
            </a:br>
            <a:r>
              <a:rPr lang="en-US"/>
              <a:t>imagery guidelines at designcenter.mastercard.com.</a:t>
            </a:r>
          </a:p>
        </p:txBody>
      </p:sp>
      <p:sp>
        <p:nvSpPr>
          <p:cNvPr id="5" name="Text Placeholder 2"/>
          <p:cNvSpPr>
            <a:spLocks noGrp="1"/>
          </p:cNvSpPr>
          <p:nvPr>
            <p:ph type="body" idx="1" hasCustomPrompt="1"/>
          </p:nvPr>
        </p:nvSpPr>
        <p:spPr bwMode="gray">
          <a:xfrm>
            <a:off x="164593" y="292608"/>
            <a:ext cx="4198001" cy="321562"/>
          </a:xfrm>
        </p:spPr>
        <p:txBody>
          <a:bodyPr/>
          <a:lstStyle>
            <a:lvl1pPr marL="0" indent="0">
              <a:buNone/>
              <a:defRPr sz="1600" b="1">
                <a:solidFill>
                  <a:schemeClr val="tx1"/>
                </a:solidFill>
                <a:latin typeface="Mark Offc For MC" panose="020B0504020101010102" pitchFamily="34" charset="0"/>
              </a:defRPr>
            </a:lvl1pPr>
            <a:lvl2pPr marL="342891" indent="0">
              <a:buNone/>
              <a:defRPr sz="1500">
                <a:solidFill>
                  <a:schemeClr val="tx1">
                    <a:tint val="75000"/>
                  </a:schemeClr>
                </a:solidFill>
              </a:defRPr>
            </a:lvl2pPr>
            <a:lvl3pPr marL="685783" indent="0">
              <a:buNone/>
              <a:defRPr sz="1351">
                <a:solidFill>
                  <a:schemeClr val="tx1">
                    <a:tint val="75000"/>
                  </a:schemeClr>
                </a:solidFill>
              </a:defRPr>
            </a:lvl3pPr>
            <a:lvl4pPr marL="1028674"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1" indent="0">
              <a:buNone/>
              <a:defRPr sz="1200">
                <a:solidFill>
                  <a:schemeClr val="tx1">
                    <a:tint val="75000"/>
                  </a:schemeClr>
                </a:solidFill>
              </a:defRPr>
            </a:lvl9pPr>
          </a:lstStyle>
          <a:p>
            <a:pPr lvl="0"/>
            <a:r>
              <a:rPr lang="en-US"/>
              <a:t>Click to add section number</a:t>
            </a:r>
          </a:p>
        </p:txBody>
      </p:sp>
      <p:sp>
        <p:nvSpPr>
          <p:cNvPr id="2" name="Title 1"/>
          <p:cNvSpPr>
            <a:spLocks noGrp="1"/>
          </p:cNvSpPr>
          <p:nvPr>
            <p:ph type="title" hasCustomPrompt="1"/>
          </p:nvPr>
        </p:nvSpPr>
        <p:spPr bwMode="gray">
          <a:xfrm>
            <a:off x="164594" y="726671"/>
            <a:ext cx="4198001" cy="1034129"/>
          </a:xfrm>
        </p:spPr>
        <p:txBody>
          <a:bodyPr anchor="t" anchorCtr="0"/>
          <a:lstStyle>
            <a:lvl1pPr>
              <a:defRPr sz="3400" b="0">
                <a:solidFill>
                  <a:schemeClr val="tx1"/>
                </a:solidFill>
                <a:latin typeface="Mark Offc For MC Extra Light" panose="020B0404020101010102" pitchFamily="34" charset="0"/>
              </a:defRPr>
            </a:lvl1pPr>
          </a:lstStyle>
          <a:p>
            <a:r>
              <a:rPr lang="en-US"/>
              <a:t>Click to add section title</a:t>
            </a:r>
          </a:p>
        </p:txBody>
      </p:sp>
      <p:grpSp>
        <p:nvGrpSpPr>
          <p:cNvPr id="12" name="Graphic 9">
            <a:extLst>
              <a:ext uri="{FF2B5EF4-FFF2-40B4-BE49-F238E27FC236}">
                <a16:creationId xmlns:a16="http://schemas.microsoft.com/office/drawing/2014/main" id="{B96E7C20-9D5B-4B22-8E28-AA0C8A79B1D5}"/>
              </a:ext>
            </a:extLst>
          </p:cNvPr>
          <p:cNvGrpSpPr>
            <a:grpSpLocks noChangeAspect="1"/>
          </p:cNvGrpSpPr>
          <p:nvPr userDrawn="1"/>
        </p:nvGrpSpPr>
        <p:grpSpPr bwMode="gray">
          <a:xfrm>
            <a:off x="8288899" y="258318"/>
            <a:ext cx="595440" cy="370757"/>
            <a:chOff x="248864" y="1309239"/>
            <a:chExt cx="1116830" cy="695406"/>
          </a:xfrm>
        </p:grpSpPr>
        <p:sp>
          <p:nvSpPr>
            <p:cNvPr id="13" name="Freeform: Shape 12">
              <a:extLst>
                <a:ext uri="{FF2B5EF4-FFF2-40B4-BE49-F238E27FC236}">
                  <a16:creationId xmlns:a16="http://schemas.microsoft.com/office/drawing/2014/main" id="{D917C018-D808-4F4A-89EC-7FB08C50DEC6}"/>
                </a:ext>
              </a:extLst>
            </p:cNvPr>
            <p:cNvSpPr/>
            <p:nvPr/>
          </p:nvSpPr>
          <p:spPr bwMode="gray">
            <a:xfrm>
              <a:off x="653702" y="1382595"/>
              <a:ext cx="314326" cy="552451"/>
            </a:xfrm>
            <a:custGeom>
              <a:avLst/>
              <a:gdLst>
                <a:gd name="connsiteX0" fmla="*/ 7144 w 314325"/>
                <a:gd name="connsiteY0" fmla="*/ 7144 h 552450"/>
                <a:gd name="connsiteX1" fmla="*/ 307181 w 314325"/>
                <a:gd name="connsiteY1" fmla="*/ 7144 h 552450"/>
                <a:gd name="connsiteX2" fmla="*/ 307181 w 314325"/>
                <a:gd name="connsiteY2" fmla="*/ 546354 h 552450"/>
                <a:gd name="connsiteX3" fmla="*/ 7144 w 314325"/>
                <a:gd name="connsiteY3" fmla="*/ 546354 h 552450"/>
              </a:gdLst>
              <a:ahLst/>
              <a:cxnLst>
                <a:cxn ang="0">
                  <a:pos x="connsiteX0" y="connsiteY0"/>
                </a:cxn>
                <a:cxn ang="0">
                  <a:pos x="connsiteX1" y="connsiteY1"/>
                </a:cxn>
                <a:cxn ang="0">
                  <a:pos x="connsiteX2" y="connsiteY2"/>
                </a:cxn>
                <a:cxn ang="0">
                  <a:pos x="connsiteX3" y="connsiteY3"/>
                </a:cxn>
              </a:cxnLst>
              <a:rect l="l" t="t" r="r" b="b"/>
              <a:pathLst>
                <a:path w="314325" h="552450">
                  <a:moveTo>
                    <a:pt x="7144" y="7144"/>
                  </a:moveTo>
                  <a:lnTo>
                    <a:pt x="307181" y="7144"/>
                  </a:lnTo>
                  <a:lnTo>
                    <a:pt x="307181" y="546354"/>
                  </a:lnTo>
                  <a:lnTo>
                    <a:pt x="7144" y="546354"/>
                  </a:lnTo>
                  <a:close/>
                </a:path>
              </a:pathLst>
            </a:custGeom>
            <a:solidFill>
              <a:srgbClr val="FF5F00"/>
            </a:solidFill>
            <a:ln w="9525" cap="flat">
              <a:noFill/>
              <a:prstDash val="solid"/>
              <a:miter/>
            </a:ln>
          </p:spPr>
          <p:txBody>
            <a:bodyPr rtlCol="0" anchor="ctr"/>
            <a:lstStyle/>
            <a:p>
              <a:pPr lvl="0"/>
              <a:endParaRPr lang="en-US"/>
            </a:p>
          </p:txBody>
        </p:sp>
        <p:sp>
          <p:nvSpPr>
            <p:cNvPr id="14" name="Freeform: Shape 13">
              <a:extLst>
                <a:ext uri="{FF2B5EF4-FFF2-40B4-BE49-F238E27FC236}">
                  <a16:creationId xmlns:a16="http://schemas.microsoft.com/office/drawing/2014/main" id="{8A234C8A-EDFE-44F9-B336-B874D8FBCFF4}"/>
                </a:ext>
              </a:extLst>
            </p:cNvPr>
            <p:cNvSpPr/>
            <p:nvPr/>
          </p:nvSpPr>
          <p:spPr bwMode="gray">
            <a:xfrm>
              <a:off x="248864" y="1309239"/>
              <a:ext cx="561975" cy="695324"/>
            </a:xfrm>
            <a:custGeom>
              <a:avLst/>
              <a:gdLst>
                <a:gd name="connsiteX0" fmla="*/ 431031 w 561975"/>
                <a:gd name="connsiteY0" fmla="*/ 350058 h 695325"/>
                <a:gd name="connsiteX1" fmla="*/ 562000 w 561975"/>
                <a:gd name="connsiteY1" fmla="*/ 80501 h 695325"/>
                <a:gd name="connsiteX2" fmla="*/ 80501 w 561975"/>
                <a:gd name="connsiteY2" fmla="*/ 138117 h 695325"/>
                <a:gd name="connsiteX3" fmla="*/ 138117 w 561975"/>
                <a:gd name="connsiteY3" fmla="*/ 619616 h 695325"/>
                <a:gd name="connsiteX4" fmla="*/ 562000 w 561975"/>
                <a:gd name="connsiteY4" fmla="*/ 619616 h 695325"/>
                <a:gd name="connsiteX5" fmla="*/ 431031 w 561975"/>
                <a:gd name="connsiteY5" fmla="*/ 35005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975" h="695325">
                  <a:moveTo>
                    <a:pt x="431031" y="350058"/>
                  </a:moveTo>
                  <a:cubicBezTo>
                    <a:pt x="430905" y="244845"/>
                    <a:pt x="479209" y="145428"/>
                    <a:pt x="562000" y="80501"/>
                  </a:cubicBezTo>
                  <a:cubicBezTo>
                    <a:pt x="413127" y="-36551"/>
                    <a:pt x="197553" y="-10756"/>
                    <a:pt x="80501" y="138117"/>
                  </a:cubicBezTo>
                  <a:cubicBezTo>
                    <a:pt x="-36551" y="286989"/>
                    <a:pt x="-10756" y="502564"/>
                    <a:pt x="138117" y="619616"/>
                  </a:cubicBezTo>
                  <a:cubicBezTo>
                    <a:pt x="262491" y="717406"/>
                    <a:pt x="437626" y="717406"/>
                    <a:pt x="562000" y="619616"/>
                  </a:cubicBezTo>
                  <a:cubicBezTo>
                    <a:pt x="479209" y="554688"/>
                    <a:pt x="430905" y="455272"/>
                    <a:pt x="431031" y="350058"/>
                  </a:cubicBezTo>
                  <a:close/>
                </a:path>
              </a:pathLst>
            </a:custGeom>
            <a:solidFill>
              <a:srgbClr val="EB001B"/>
            </a:solidFill>
            <a:ln w="9525" cap="flat">
              <a:noFill/>
              <a:prstDash val="solid"/>
              <a:miter/>
            </a:ln>
          </p:spPr>
          <p:txBody>
            <a:bodyPr rtlCol="0" anchor="ctr"/>
            <a:lstStyle/>
            <a:p>
              <a:pPr lvl="0"/>
              <a:endParaRPr lang="en-US"/>
            </a:p>
          </p:txBody>
        </p:sp>
        <p:sp>
          <p:nvSpPr>
            <p:cNvPr id="15" name="Freeform: Shape 14">
              <a:extLst>
                <a:ext uri="{FF2B5EF4-FFF2-40B4-BE49-F238E27FC236}">
                  <a16:creationId xmlns:a16="http://schemas.microsoft.com/office/drawing/2014/main" id="{15233F1A-C03B-4B5A-A406-CC4E8F93C8B4}"/>
                </a:ext>
              </a:extLst>
            </p:cNvPr>
            <p:cNvSpPr/>
            <p:nvPr/>
          </p:nvSpPr>
          <p:spPr bwMode="gray">
            <a:xfrm>
              <a:off x="803719" y="1309321"/>
              <a:ext cx="561975" cy="695324"/>
            </a:xfrm>
            <a:custGeom>
              <a:avLst/>
              <a:gdLst>
                <a:gd name="connsiteX0" fmla="*/ 561880 w 561975"/>
                <a:gd name="connsiteY0" fmla="*/ 349975 h 695325"/>
                <a:gd name="connsiteX1" fmla="*/ 218897 w 561975"/>
                <a:gd name="connsiteY1" fmla="*/ 692793 h 695325"/>
                <a:gd name="connsiteX2" fmla="*/ 7144 w 561975"/>
                <a:gd name="connsiteY2" fmla="*/ 619533 h 695325"/>
                <a:gd name="connsiteX3" fmla="*/ 64760 w 561975"/>
                <a:gd name="connsiteY3" fmla="*/ 138034 h 695325"/>
                <a:gd name="connsiteX4" fmla="*/ 7144 w 561975"/>
                <a:gd name="connsiteY4" fmla="*/ 80418 h 695325"/>
                <a:gd name="connsiteX5" fmla="*/ 488620 w 561975"/>
                <a:gd name="connsiteY5" fmla="*/ 138222 h 695325"/>
                <a:gd name="connsiteX6" fmla="*/ 561880 w 561975"/>
                <a:gd name="connsiteY6" fmla="*/ 349975 h 695325"/>
                <a:gd name="connsiteX7" fmla="*/ 529209 w 561975"/>
                <a:gd name="connsiteY7" fmla="*/ 562478 h 695325"/>
                <a:gd name="connsiteX8" fmla="*/ 529209 w 561975"/>
                <a:gd name="connsiteY8" fmla="*/ 551429 h 695325"/>
                <a:gd name="connsiteX9" fmla="*/ 533686 w 561975"/>
                <a:gd name="connsiteY9" fmla="*/ 551429 h 695325"/>
                <a:gd name="connsiteX10" fmla="*/ 533686 w 561975"/>
                <a:gd name="connsiteY10" fmla="*/ 549143 h 695325"/>
                <a:gd name="connsiteX11" fmla="*/ 522446 w 561975"/>
                <a:gd name="connsiteY11" fmla="*/ 549143 h 695325"/>
                <a:gd name="connsiteX12" fmla="*/ 522446 w 561975"/>
                <a:gd name="connsiteY12" fmla="*/ 551429 h 695325"/>
                <a:gd name="connsiteX13" fmla="*/ 526828 w 561975"/>
                <a:gd name="connsiteY13" fmla="*/ 551429 h 695325"/>
                <a:gd name="connsiteX14" fmla="*/ 526828 w 561975"/>
                <a:gd name="connsiteY14" fmla="*/ 562478 h 695325"/>
                <a:gd name="connsiteX15" fmla="*/ 551212 w 561975"/>
                <a:gd name="connsiteY15" fmla="*/ 562478 h 695325"/>
                <a:gd name="connsiteX16" fmla="*/ 551212 w 561975"/>
                <a:gd name="connsiteY16" fmla="*/ 549143 h 695325"/>
                <a:gd name="connsiteX17" fmla="*/ 547687 w 561975"/>
                <a:gd name="connsiteY17" fmla="*/ 549143 h 695325"/>
                <a:gd name="connsiteX18" fmla="*/ 543687 w 561975"/>
                <a:gd name="connsiteY18" fmla="*/ 558668 h 695325"/>
                <a:gd name="connsiteX19" fmla="*/ 539686 w 561975"/>
                <a:gd name="connsiteY19" fmla="*/ 549143 h 695325"/>
                <a:gd name="connsiteX20" fmla="*/ 536258 w 561975"/>
                <a:gd name="connsiteY20" fmla="*/ 549143 h 695325"/>
                <a:gd name="connsiteX21" fmla="*/ 536258 w 561975"/>
                <a:gd name="connsiteY21" fmla="*/ 562478 h 695325"/>
                <a:gd name="connsiteX22" fmla="*/ 538734 w 561975"/>
                <a:gd name="connsiteY22" fmla="*/ 562478 h 695325"/>
                <a:gd name="connsiteX23" fmla="*/ 538734 w 561975"/>
                <a:gd name="connsiteY23" fmla="*/ 552382 h 695325"/>
                <a:gd name="connsiteX24" fmla="*/ 542449 w 561975"/>
                <a:gd name="connsiteY24" fmla="*/ 561049 h 695325"/>
                <a:gd name="connsiteX25" fmla="*/ 545020 w 561975"/>
                <a:gd name="connsiteY25" fmla="*/ 561049 h 695325"/>
                <a:gd name="connsiteX26" fmla="*/ 548735 w 561975"/>
                <a:gd name="connsiteY26" fmla="*/ 552382 h 695325"/>
                <a:gd name="connsiteX27" fmla="*/ 548735 w 561975"/>
                <a:gd name="connsiteY27" fmla="*/ 56247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61975" h="695325">
                  <a:moveTo>
                    <a:pt x="561880" y="349975"/>
                  </a:moveTo>
                  <a:cubicBezTo>
                    <a:pt x="561834" y="539354"/>
                    <a:pt x="408276" y="692838"/>
                    <a:pt x="218897" y="692793"/>
                  </a:cubicBezTo>
                  <a:cubicBezTo>
                    <a:pt x="142100" y="692774"/>
                    <a:pt x="67533" y="666976"/>
                    <a:pt x="7144" y="619533"/>
                  </a:cubicBezTo>
                  <a:cubicBezTo>
                    <a:pt x="156016" y="502481"/>
                    <a:pt x="181812" y="286906"/>
                    <a:pt x="64760" y="138034"/>
                  </a:cubicBezTo>
                  <a:cubicBezTo>
                    <a:pt x="47913" y="116607"/>
                    <a:pt x="28571" y="97265"/>
                    <a:pt x="7144" y="80418"/>
                  </a:cubicBezTo>
                  <a:cubicBezTo>
                    <a:pt x="156062" y="-36576"/>
                    <a:pt x="371626" y="-10696"/>
                    <a:pt x="488620" y="138222"/>
                  </a:cubicBezTo>
                  <a:cubicBezTo>
                    <a:pt x="536063" y="198612"/>
                    <a:pt x="561861" y="273179"/>
                    <a:pt x="561880" y="349975"/>
                  </a:cubicBezTo>
                  <a:close/>
                  <a:moveTo>
                    <a:pt x="529209" y="562478"/>
                  </a:moveTo>
                  <a:lnTo>
                    <a:pt x="529209" y="551429"/>
                  </a:lnTo>
                  <a:lnTo>
                    <a:pt x="533686" y="551429"/>
                  </a:lnTo>
                  <a:lnTo>
                    <a:pt x="533686" y="549143"/>
                  </a:lnTo>
                  <a:lnTo>
                    <a:pt x="522446" y="549143"/>
                  </a:lnTo>
                  <a:lnTo>
                    <a:pt x="522446" y="551429"/>
                  </a:lnTo>
                  <a:lnTo>
                    <a:pt x="526828" y="551429"/>
                  </a:lnTo>
                  <a:lnTo>
                    <a:pt x="526828" y="562478"/>
                  </a:lnTo>
                  <a:close/>
                  <a:moveTo>
                    <a:pt x="551212" y="562478"/>
                  </a:moveTo>
                  <a:lnTo>
                    <a:pt x="551212" y="549143"/>
                  </a:lnTo>
                  <a:lnTo>
                    <a:pt x="547687" y="549143"/>
                  </a:lnTo>
                  <a:lnTo>
                    <a:pt x="543687" y="558668"/>
                  </a:lnTo>
                  <a:lnTo>
                    <a:pt x="539686" y="549143"/>
                  </a:lnTo>
                  <a:lnTo>
                    <a:pt x="536258" y="549143"/>
                  </a:lnTo>
                  <a:lnTo>
                    <a:pt x="536258" y="562478"/>
                  </a:lnTo>
                  <a:lnTo>
                    <a:pt x="538734" y="562478"/>
                  </a:lnTo>
                  <a:lnTo>
                    <a:pt x="538734" y="552382"/>
                  </a:lnTo>
                  <a:lnTo>
                    <a:pt x="542449" y="561049"/>
                  </a:lnTo>
                  <a:lnTo>
                    <a:pt x="545020" y="561049"/>
                  </a:lnTo>
                  <a:lnTo>
                    <a:pt x="548735" y="552382"/>
                  </a:lnTo>
                  <a:lnTo>
                    <a:pt x="548735" y="562478"/>
                  </a:lnTo>
                  <a:close/>
                </a:path>
              </a:pathLst>
            </a:custGeom>
            <a:solidFill>
              <a:srgbClr val="F79E1B"/>
            </a:solid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30641949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625" b="0" i="0">
                <a:solidFill>
                  <a:srgbClr val="F38B00"/>
                </a:solidFill>
                <a:latin typeface="Mark Offc For MC Extra Light"/>
                <a:cs typeface="Mark Offc For MC Extra Light"/>
              </a:defRPr>
            </a:lvl1pPr>
          </a:lstStyle>
          <a:p>
            <a:endParaRPr/>
          </a:p>
        </p:txBody>
      </p:sp>
      <p:sp>
        <p:nvSpPr>
          <p:cNvPr id="3" name="Holder 3"/>
          <p:cNvSpPr>
            <a:spLocks noGrp="1"/>
          </p:cNvSpPr>
          <p:nvPr>
            <p:ph type="body" idx="1"/>
          </p:nvPr>
        </p:nvSpPr>
        <p:spPr/>
        <p:txBody>
          <a:bodyPr lIns="0" tIns="0" rIns="0" bIns="0"/>
          <a:lstStyle>
            <a:lvl1pPr>
              <a:defRPr sz="1050" b="0" i="0">
                <a:solidFill>
                  <a:schemeClr val="tx1"/>
                </a:solidFill>
                <a:latin typeface="Mark Offc For MC Light"/>
                <a:cs typeface="Mark Offc For MC Light"/>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1/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047986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text - smal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C87C53-1B31-4A4E-B422-03655C334D08}"/>
              </a:ext>
            </a:extLst>
          </p:cNvPr>
          <p:cNvGraphicFramePr>
            <a:graphicFrameLocks noChangeAspect="1"/>
          </p:cNvGraphicFramePr>
          <p:nvPr userDrawn="1">
            <p:custDataLst>
              <p:tags r:id="rId1"/>
            </p:custDataLst>
            <p:extLst>
              <p:ext uri="{D42A27DB-BD31-4B8C-83A1-F6EECF244321}">
                <p14:modId xmlns:p14="http://schemas.microsoft.com/office/powerpoint/2010/main" val="23036288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C8C87C53-1B31-4A4E-B422-03655C334D08}"/>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8EA35AD-48EB-4896-B676-8436D98E2D74}"/>
              </a:ext>
            </a:extLst>
          </p:cNvPr>
          <p:cNvSpPr/>
          <p:nvPr userDrawn="1">
            <p:custDataLst>
              <p:tags r:id="rId2"/>
            </p:custDataLst>
          </p:nvPr>
        </p:nvSpPr>
        <p:spPr bwMode="gray">
          <a:xfrm>
            <a:off x="1" y="1"/>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700" b="1" i="0" baseline="0">
              <a:latin typeface="Mark Offc For MC" panose="020B0504020101010102" pitchFamily="34" charset="0"/>
              <a:ea typeface="+mj-ea"/>
              <a:sym typeface="Mark Offc For MC" panose="020B0504020101010102" pitchFamily="34" charset="0"/>
            </a:endParaRPr>
          </a:p>
        </p:txBody>
      </p:sp>
      <p:sp>
        <p:nvSpPr>
          <p:cNvPr id="8" name="Title 1"/>
          <p:cNvSpPr>
            <a:spLocks noGrp="1"/>
          </p:cNvSpPr>
          <p:nvPr>
            <p:ph type="ctrTitle" hasCustomPrompt="1"/>
          </p:nvPr>
        </p:nvSpPr>
        <p:spPr bwMode="gray">
          <a:xfrm>
            <a:off x="164593" y="292501"/>
            <a:ext cx="5799531" cy="178510"/>
          </a:xfrm>
          <a:ln>
            <a:noFill/>
          </a:ln>
        </p:spPr>
        <p:txBody>
          <a:bodyPr rIns="91440" anchor="b"/>
          <a:lstStyle>
            <a:lvl1pPr algn="l">
              <a:lnSpc>
                <a:spcPct val="80000"/>
              </a:lnSpc>
              <a:defRPr sz="700" b="1" i="0" kern="0" cap="all" spc="0">
                <a:solidFill>
                  <a:srgbClr val="F2651B"/>
                </a:solidFill>
                <a:latin typeface="Mark Offc For MC"/>
                <a:cs typeface="Mark Offc For MC"/>
              </a:defRPr>
            </a:lvl1pPr>
          </a:lstStyle>
          <a:p>
            <a:r>
              <a:rPr lang="en-US"/>
              <a:t>CLICK TO EDIT MASTER TITLE STYLE</a:t>
            </a:r>
          </a:p>
        </p:txBody>
      </p:sp>
      <p:sp>
        <p:nvSpPr>
          <p:cNvPr id="9" name="Text Placeholder 4"/>
          <p:cNvSpPr>
            <a:spLocks noGrp="1"/>
          </p:cNvSpPr>
          <p:nvPr>
            <p:ph type="body" sz="quarter" idx="13"/>
          </p:nvPr>
        </p:nvSpPr>
        <p:spPr>
          <a:xfrm>
            <a:off x="152292" y="578279"/>
            <a:ext cx="4408852" cy="2009753"/>
          </a:xfrm>
        </p:spPr>
        <p:txBody>
          <a:bodyPr/>
          <a:lstStyle>
            <a:lvl1pPr marL="0" indent="0">
              <a:lnSpc>
                <a:spcPct val="100000"/>
              </a:lnSpc>
              <a:spcBef>
                <a:spcPts val="0"/>
              </a:spcBef>
              <a:spcAft>
                <a:spcPts val="800"/>
              </a:spcAft>
              <a:buNone/>
              <a:defRPr sz="2200" b="0" i="0">
                <a:latin typeface="Mark Offc For MC"/>
                <a:cs typeface="Mark Offc For MC"/>
              </a:defRPr>
            </a:lvl1pPr>
            <a:lvl2pPr marL="0" indent="0">
              <a:lnSpc>
                <a:spcPct val="100000"/>
              </a:lnSpc>
              <a:spcBef>
                <a:spcPts val="0"/>
              </a:spcBef>
              <a:spcAft>
                <a:spcPts val="600"/>
              </a:spcAft>
              <a:buNone/>
              <a:defRPr sz="1400" b="0" i="0">
                <a:latin typeface="Mark Offc For MC Light"/>
                <a:cs typeface="Mark Offc For MC Light"/>
              </a:defRPr>
            </a:lvl2pPr>
            <a:lvl3pPr marL="0" indent="0">
              <a:lnSpc>
                <a:spcPct val="100000"/>
              </a:lnSpc>
              <a:spcBef>
                <a:spcPts val="0"/>
              </a:spcBef>
              <a:spcAft>
                <a:spcPts val="600"/>
              </a:spcAft>
              <a:buNone/>
              <a:defRPr sz="1050" b="1" i="0">
                <a:latin typeface="MarkForMC Nrw O" charset="0"/>
                <a:ea typeface="MarkForMC Nrw O" charset="0"/>
                <a:cs typeface="MarkForMC Nrw O" charset="0"/>
              </a:defRPr>
            </a:lvl3pPr>
            <a:lvl4pPr marL="0" indent="0">
              <a:lnSpc>
                <a:spcPct val="100000"/>
              </a:lnSpc>
              <a:spcBef>
                <a:spcPts val="0"/>
              </a:spcBef>
              <a:spcAft>
                <a:spcPts val="300"/>
              </a:spcAft>
              <a:buNone/>
              <a:defRPr sz="1050" b="0" i="0">
                <a:latin typeface="MarkForMC Nrw O" charset="0"/>
                <a:ea typeface="MarkForMC Nrw O" charset="0"/>
                <a:cs typeface="MarkForMC Nrw O" charset="0"/>
              </a:defRPr>
            </a:lvl4pPr>
            <a:lvl5pPr marL="171446" indent="-171446">
              <a:lnSpc>
                <a:spcPct val="100000"/>
              </a:lnSpc>
              <a:spcBef>
                <a:spcPts val="0"/>
              </a:spcBef>
              <a:spcAft>
                <a:spcPts val="300"/>
              </a:spcAft>
              <a:buFont typeface="Arial"/>
              <a:buChar char="•"/>
              <a:defRPr sz="1050" b="0" i="0">
                <a:latin typeface="MarkForMC Nrw O" charset="0"/>
                <a:ea typeface="MarkForMC Nrw O" charset="0"/>
                <a:cs typeface="MarkForMC Nrw O"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Date Placeholder 3"/>
          <p:cNvSpPr>
            <a:spLocks noGrp="1"/>
          </p:cNvSpPr>
          <p:nvPr>
            <p:ph type="dt" sz="half" idx="2"/>
          </p:nvPr>
        </p:nvSpPr>
        <p:spPr bwMode="gray">
          <a:xfrm>
            <a:off x="3119090" y="4817955"/>
            <a:ext cx="1452909" cy="273844"/>
          </a:xfrm>
          <a:prstGeom prst="rect">
            <a:avLst/>
          </a:prstGeom>
        </p:spPr>
        <p:txBody>
          <a:bodyPr vert="horz" lIns="91440" tIns="45720" rIns="91440" bIns="45720" rtlCol="0" anchor="ctr"/>
          <a:lstStyle>
            <a:lvl1pPr algn="l">
              <a:defRPr sz="600" b="0" cap="all" baseline="0">
                <a:solidFill>
                  <a:schemeClr val="tx1"/>
                </a:solidFill>
                <a:latin typeface="Mark Offc For MC" panose="020B0504020101010102" pitchFamily="34" charset="0"/>
              </a:defRPr>
            </a:lvl1pPr>
          </a:lstStyle>
          <a:p>
            <a:pPr defTabSz="914378">
              <a:defRPr/>
            </a:pPr>
            <a:fld id="{4DC4F5BA-72FF-9146-90C6-30A44FFE9C70}" type="datetime4">
              <a:rPr lang="en-US" kern="0" smtClean="0">
                <a:solidFill>
                  <a:srgbClr val="171717"/>
                </a:solidFill>
              </a:rPr>
              <a:pPr defTabSz="914378">
                <a:defRPr/>
              </a:pPr>
              <a:t>May 21, 2024</a:t>
            </a:fld>
            <a:endParaRPr lang="en-US" kern="0">
              <a:solidFill>
                <a:srgbClr val="171717"/>
              </a:solidFill>
            </a:endParaRPr>
          </a:p>
        </p:txBody>
      </p:sp>
      <p:sp>
        <p:nvSpPr>
          <p:cNvPr id="7" name="Footer Placeholder 4"/>
          <p:cNvSpPr>
            <a:spLocks noGrp="1"/>
          </p:cNvSpPr>
          <p:nvPr>
            <p:ph type="ftr" sz="quarter" idx="3"/>
          </p:nvPr>
        </p:nvSpPr>
        <p:spPr bwMode="gray">
          <a:xfrm>
            <a:off x="4572000" y="4809102"/>
            <a:ext cx="3749290" cy="288000"/>
          </a:xfrm>
          <a:prstGeom prst="rect">
            <a:avLst/>
          </a:prstGeom>
        </p:spPr>
        <p:txBody>
          <a:bodyPr vert="horz" lIns="91440" tIns="45720" rIns="0" bIns="45720" rtlCol="0" anchor="ctr" anchorCtr="0"/>
          <a:lstStyle>
            <a:lvl1pPr algn="r">
              <a:defRPr sz="600" b="1" cap="all" baseline="0">
                <a:solidFill>
                  <a:schemeClr val="tx1"/>
                </a:solidFill>
                <a:latin typeface="Mark Offc For MC" panose="020B0504020101010102" pitchFamily="34" charset="0"/>
              </a:defRPr>
            </a:lvl1pPr>
          </a:lstStyle>
          <a:p>
            <a:r>
              <a:rPr lang="en-US">
                <a:solidFill>
                  <a:srgbClr val="171717"/>
                </a:solidFill>
              </a:rPr>
              <a:t>Product Name</a:t>
            </a:r>
          </a:p>
        </p:txBody>
      </p:sp>
      <p:sp>
        <p:nvSpPr>
          <p:cNvPr id="10" name="Slide Number Placeholder 5"/>
          <p:cNvSpPr>
            <a:spLocks noGrp="1"/>
          </p:cNvSpPr>
          <p:nvPr>
            <p:ph type="sldNum" sz="quarter" idx="4"/>
          </p:nvPr>
        </p:nvSpPr>
        <p:spPr bwMode="gray">
          <a:xfrm>
            <a:off x="8470302" y="4817955"/>
            <a:ext cx="435577" cy="273844"/>
          </a:xfrm>
          <a:prstGeom prst="rect">
            <a:avLst/>
          </a:prstGeom>
        </p:spPr>
        <p:txBody>
          <a:bodyPr vert="horz" lIns="91440" tIns="45720" rIns="0" bIns="45720" rtlCol="0" anchor="ctr"/>
          <a:lstStyle>
            <a:lvl1pPr algn="r">
              <a:defRPr sz="600" b="1" cap="all" baseline="0">
                <a:solidFill>
                  <a:schemeClr val="tx1"/>
                </a:solidFill>
                <a:latin typeface="Mark Offc For MC" panose="020B0504020101010102" pitchFamily="34" charset="0"/>
              </a:defRPr>
            </a:lvl1pPr>
          </a:lstStyle>
          <a:p>
            <a:fld id="{3AB2DB24-5BB4-4F1B-973E-A10FA63DFB9A}" type="slidenum">
              <a:rPr lang="en-US" smtClean="0"/>
              <a:pPr/>
              <a:t>‹#›</a:t>
            </a:fld>
            <a:endParaRPr lang="en-US"/>
          </a:p>
        </p:txBody>
      </p:sp>
    </p:spTree>
    <p:extLst>
      <p:ext uri="{BB962C8B-B14F-4D97-AF65-F5344CB8AC3E}">
        <p14:creationId xmlns:p14="http://schemas.microsoft.com/office/powerpoint/2010/main" val="1889761480"/>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Graphic - Light">
    <p:bg bwMode="gray">
      <p:bgPr>
        <a:solidFill>
          <a:schemeClr val="bg1"/>
        </a:solidFill>
        <a:effectLst/>
      </p:bgPr>
    </p:bg>
    <p:spTree>
      <p:nvGrpSpPr>
        <p:cNvPr id="1" name=""/>
        <p:cNvGrpSpPr/>
        <p:nvPr/>
      </p:nvGrpSpPr>
      <p:grpSpPr>
        <a:xfrm>
          <a:off x="0" y="0"/>
          <a:ext cx="0" cy="0"/>
          <a:chOff x="0" y="0"/>
          <a:chExt cx="0" cy="0"/>
        </a:xfrm>
      </p:grpSpPr>
      <p:sp>
        <p:nvSpPr>
          <p:cNvPr id="3" name="TitleSlideNameDept"/>
          <p:cNvSpPr>
            <a:spLocks noGrp="1"/>
          </p:cNvSpPr>
          <p:nvPr>
            <p:ph type="body" sz="quarter" idx="11" hasCustomPrompt="1"/>
          </p:nvPr>
        </p:nvSpPr>
        <p:spPr bwMode="gray">
          <a:xfrm>
            <a:off x="164592" y="3466431"/>
            <a:ext cx="3124200" cy="170816"/>
          </a:xfrm>
        </p:spPr>
        <p:txBody>
          <a:bodyPr vert="horz" lIns="91440" tIns="0" rIns="91440" bIns="45720" rtlCol="0" anchor="t" anchorCtr="0">
            <a:spAutoFit/>
          </a:bodyPr>
          <a:lstStyle>
            <a:lvl1pPr marL="115885" indent="-115885">
              <a:buNone/>
              <a:defRPr lang="en-US" sz="900" b="0" cap="none" baseline="0" dirty="0" smtClean="0">
                <a:latin typeface="MarkForMC Nrw O" panose="020B0506020201010104" pitchFamily="34" charset="0"/>
              </a:defRPr>
            </a:lvl1pPr>
          </a:lstStyle>
          <a:p>
            <a:pPr marL="0" lvl="0" indent="0"/>
            <a:r>
              <a:rPr lang="en-US"/>
              <a:t>Click to add presenter name, department</a:t>
            </a:r>
          </a:p>
        </p:txBody>
      </p:sp>
      <p:sp>
        <p:nvSpPr>
          <p:cNvPr id="26" name="Date Placeholder 3"/>
          <p:cNvSpPr>
            <a:spLocks noGrp="1"/>
          </p:cNvSpPr>
          <p:nvPr>
            <p:ph type="dt" sz="half" idx="2"/>
          </p:nvPr>
        </p:nvSpPr>
        <p:spPr bwMode="gray">
          <a:xfrm>
            <a:off x="164592" y="3166956"/>
            <a:ext cx="3123564" cy="273844"/>
          </a:xfrm>
          <a:prstGeom prst="rect">
            <a:avLst/>
          </a:prstGeom>
        </p:spPr>
        <p:txBody>
          <a:bodyPr vert="horz" lIns="91440" tIns="45720" rIns="91440" bIns="0" rtlCol="0" anchor="b" anchorCtr="0"/>
          <a:lstStyle>
            <a:lvl1pPr>
              <a:defRPr lang="en-US" sz="900" cap="none" smtClean="0">
                <a:latin typeface="MarkForMC Nrw O" panose="020B0506020201010104" pitchFamily="34" charset="0"/>
              </a:defRPr>
            </a:lvl1pPr>
          </a:lstStyle>
          <a:p>
            <a:r>
              <a:rPr lang="en-US"/>
              <a:t>February 15, 2024</a:t>
            </a:r>
          </a:p>
        </p:txBody>
      </p:sp>
      <p:sp>
        <p:nvSpPr>
          <p:cNvPr id="25" name="Subtitle 2"/>
          <p:cNvSpPr>
            <a:spLocks noGrp="1"/>
          </p:cNvSpPr>
          <p:nvPr>
            <p:ph type="subTitle" idx="1"/>
          </p:nvPr>
        </p:nvSpPr>
        <p:spPr bwMode="gray">
          <a:xfrm>
            <a:off x="164591" y="2717911"/>
            <a:ext cx="6702552" cy="498725"/>
          </a:xfrm>
          <a:ln>
            <a:noFill/>
          </a:ln>
        </p:spPr>
        <p:txBody>
          <a:bodyPr rIns="91440"/>
          <a:lstStyle>
            <a:lvl1pPr marL="0" indent="0" algn="l">
              <a:lnSpc>
                <a:spcPct val="80000"/>
              </a:lnSpc>
              <a:buNone/>
              <a:defRPr sz="1400">
                <a:solidFill>
                  <a:schemeClr val="tx1"/>
                </a:solidFill>
                <a:latin typeface="Mark Offc For MC" panose="020B0504020101010102" pitchFamily="34" charset="0"/>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Click to edit Master subtitle style</a:t>
            </a:r>
          </a:p>
        </p:txBody>
      </p:sp>
      <p:sp>
        <p:nvSpPr>
          <p:cNvPr id="24" name="Title 1"/>
          <p:cNvSpPr>
            <a:spLocks noGrp="1"/>
          </p:cNvSpPr>
          <p:nvPr>
            <p:ph type="ctrTitle"/>
          </p:nvPr>
        </p:nvSpPr>
        <p:spPr bwMode="gray">
          <a:xfrm>
            <a:off x="164591" y="1430456"/>
            <a:ext cx="6702552" cy="1274195"/>
          </a:xfrm>
          <a:ln>
            <a:noFill/>
          </a:ln>
        </p:spPr>
        <p:txBody>
          <a:bodyPr rIns="91440" anchor="b"/>
          <a:lstStyle>
            <a:lvl1pPr algn="l">
              <a:lnSpc>
                <a:spcPct val="80000"/>
              </a:lnSpc>
              <a:defRPr sz="4800" b="0">
                <a:solidFill>
                  <a:schemeClr val="tx1"/>
                </a:solidFill>
                <a:latin typeface="Mark Offc For MC Extra Light" panose="020B0404020101010102" pitchFamily="34" charset="0"/>
              </a:defRPr>
            </a:lvl1pPr>
          </a:lstStyle>
          <a:p>
            <a:r>
              <a:rPr lang="en-US"/>
              <a:t>Click to edit Master title style</a:t>
            </a:r>
          </a:p>
        </p:txBody>
      </p:sp>
      <p:grpSp>
        <p:nvGrpSpPr>
          <p:cNvPr id="13" name="Graphic 9">
            <a:extLst>
              <a:ext uri="{FF2B5EF4-FFF2-40B4-BE49-F238E27FC236}">
                <a16:creationId xmlns:a16="http://schemas.microsoft.com/office/drawing/2014/main" id="{A4AE44F8-1426-47A8-AD24-1B39E53FC2A5}"/>
              </a:ext>
            </a:extLst>
          </p:cNvPr>
          <p:cNvGrpSpPr>
            <a:grpSpLocks noChangeAspect="1"/>
          </p:cNvGrpSpPr>
          <p:nvPr/>
        </p:nvGrpSpPr>
        <p:grpSpPr bwMode="gray">
          <a:xfrm>
            <a:off x="8288899" y="258318"/>
            <a:ext cx="595440" cy="370757"/>
            <a:chOff x="248864" y="1309239"/>
            <a:chExt cx="1116830" cy="695406"/>
          </a:xfrm>
        </p:grpSpPr>
        <p:sp>
          <p:nvSpPr>
            <p:cNvPr id="14" name="Freeform: Shape 13">
              <a:extLst>
                <a:ext uri="{FF2B5EF4-FFF2-40B4-BE49-F238E27FC236}">
                  <a16:creationId xmlns:a16="http://schemas.microsoft.com/office/drawing/2014/main" id="{9BE3135D-F028-4808-98B4-75D1C3D0E912}"/>
                </a:ext>
              </a:extLst>
            </p:cNvPr>
            <p:cNvSpPr/>
            <p:nvPr/>
          </p:nvSpPr>
          <p:spPr bwMode="gray">
            <a:xfrm>
              <a:off x="653702" y="1382595"/>
              <a:ext cx="314326" cy="552451"/>
            </a:xfrm>
            <a:custGeom>
              <a:avLst/>
              <a:gdLst>
                <a:gd name="connsiteX0" fmla="*/ 7144 w 314325"/>
                <a:gd name="connsiteY0" fmla="*/ 7144 h 552450"/>
                <a:gd name="connsiteX1" fmla="*/ 307181 w 314325"/>
                <a:gd name="connsiteY1" fmla="*/ 7144 h 552450"/>
                <a:gd name="connsiteX2" fmla="*/ 307181 w 314325"/>
                <a:gd name="connsiteY2" fmla="*/ 546354 h 552450"/>
                <a:gd name="connsiteX3" fmla="*/ 7144 w 314325"/>
                <a:gd name="connsiteY3" fmla="*/ 546354 h 552450"/>
              </a:gdLst>
              <a:ahLst/>
              <a:cxnLst>
                <a:cxn ang="0">
                  <a:pos x="connsiteX0" y="connsiteY0"/>
                </a:cxn>
                <a:cxn ang="0">
                  <a:pos x="connsiteX1" y="connsiteY1"/>
                </a:cxn>
                <a:cxn ang="0">
                  <a:pos x="connsiteX2" y="connsiteY2"/>
                </a:cxn>
                <a:cxn ang="0">
                  <a:pos x="connsiteX3" y="connsiteY3"/>
                </a:cxn>
              </a:cxnLst>
              <a:rect l="l" t="t" r="r" b="b"/>
              <a:pathLst>
                <a:path w="314325" h="552450">
                  <a:moveTo>
                    <a:pt x="7144" y="7144"/>
                  </a:moveTo>
                  <a:lnTo>
                    <a:pt x="307181" y="7144"/>
                  </a:lnTo>
                  <a:lnTo>
                    <a:pt x="307181" y="546354"/>
                  </a:lnTo>
                  <a:lnTo>
                    <a:pt x="7144" y="546354"/>
                  </a:lnTo>
                  <a:close/>
                </a:path>
              </a:pathLst>
            </a:custGeom>
            <a:solidFill>
              <a:srgbClr val="FF5F00"/>
            </a:solidFill>
            <a:ln w="9525" cap="flat">
              <a:noFill/>
              <a:prstDash val="solid"/>
              <a:miter/>
            </a:ln>
          </p:spPr>
          <p:txBody>
            <a:bodyPr rtlCol="0" anchor="ctr"/>
            <a:lstStyle/>
            <a:p>
              <a:pPr lvl="0"/>
              <a:endParaRPr lang="en-US"/>
            </a:p>
          </p:txBody>
        </p:sp>
        <p:sp>
          <p:nvSpPr>
            <p:cNvPr id="15" name="Freeform: Shape 14">
              <a:extLst>
                <a:ext uri="{FF2B5EF4-FFF2-40B4-BE49-F238E27FC236}">
                  <a16:creationId xmlns:a16="http://schemas.microsoft.com/office/drawing/2014/main" id="{B6CE0B3E-E368-402F-BDF2-14974FDD38A3}"/>
                </a:ext>
              </a:extLst>
            </p:cNvPr>
            <p:cNvSpPr/>
            <p:nvPr/>
          </p:nvSpPr>
          <p:spPr bwMode="gray">
            <a:xfrm>
              <a:off x="248864" y="1309239"/>
              <a:ext cx="561975" cy="695324"/>
            </a:xfrm>
            <a:custGeom>
              <a:avLst/>
              <a:gdLst>
                <a:gd name="connsiteX0" fmla="*/ 431031 w 561975"/>
                <a:gd name="connsiteY0" fmla="*/ 350058 h 695325"/>
                <a:gd name="connsiteX1" fmla="*/ 562000 w 561975"/>
                <a:gd name="connsiteY1" fmla="*/ 80501 h 695325"/>
                <a:gd name="connsiteX2" fmla="*/ 80501 w 561975"/>
                <a:gd name="connsiteY2" fmla="*/ 138117 h 695325"/>
                <a:gd name="connsiteX3" fmla="*/ 138117 w 561975"/>
                <a:gd name="connsiteY3" fmla="*/ 619616 h 695325"/>
                <a:gd name="connsiteX4" fmla="*/ 562000 w 561975"/>
                <a:gd name="connsiteY4" fmla="*/ 619616 h 695325"/>
                <a:gd name="connsiteX5" fmla="*/ 431031 w 561975"/>
                <a:gd name="connsiteY5" fmla="*/ 35005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975" h="695325">
                  <a:moveTo>
                    <a:pt x="431031" y="350058"/>
                  </a:moveTo>
                  <a:cubicBezTo>
                    <a:pt x="430905" y="244845"/>
                    <a:pt x="479209" y="145428"/>
                    <a:pt x="562000" y="80501"/>
                  </a:cubicBezTo>
                  <a:cubicBezTo>
                    <a:pt x="413127" y="-36551"/>
                    <a:pt x="197553" y="-10756"/>
                    <a:pt x="80501" y="138117"/>
                  </a:cubicBezTo>
                  <a:cubicBezTo>
                    <a:pt x="-36551" y="286989"/>
                    <a:pt x="-10756" y="502564"/>
                    <a:pt x="138117" y="619616"/>
                  </a:cubicBezTo>
                  <a:cubicBezTo>
                    <a:pt x="262491" y="717406"/>
                    <a:pt x="437626" y="717406"/>
                    <a:pt x="562000" y="619616"/>
                  </a:cubicBezTo>
                  <a:cubicBezTo>
                    <a:pt x="479209" y="554688"/>
                    <a:pt x="430905" y="455272"/>
                    <a:pt x="431031" y="350058"/>
                  </a:cubicBezTo>
                  <a:close/>
                </a:path>
              </a:pathLst>
            </a:custGeom>
            <a:solidFill>
              <a:srgbClr val="EB001B"/>
            </a:solidFill>
            <a:ln w="9525" cap="flat">
              <a:noFill/>
              <a:prstDash val="solid"/>
              <a:miter/>
            </a:ln>
          </p:spPr>
          <p:txBody>
            <a:bodyPr rtlCol="0" anchor="ctr"/>
            <a:lstStyle/>
            <a:p>
              <a:pPr lvl="0"/>
              <a:endParaRPr lang="en-US"/>
            </a:p>
          </p:txBody>
        </p:sp>
        <p:sp>
          <p:nvSpPr>
            <p:cNvPr id="16" name="Freeform: Shape 15">
              <a:extLst>
                <a:ext uri="{FF2B5EF4-FFF2-40B4-BE49-F238E27FC236}">
                  <a16:creationId xmlns:a16="http://schemas.microsoft.com/office/drawing/2014/main" id="{158284E4-ECF5-4258-A538-80CAEFFEE4A2}"/>
                </a:ext>
              </a:extLst>
            </p:cNvPr>
            <p:cNvSpPr/>
            <p:nvPr/>
          </p:nvSpPr>
          <p:spPr bwMode="gray">
            <a:xfrm>
              <a:off x="803719" y="1309321"/>
              <a:ext cx="561975" cy="695324"/>
            </a:xfrm>
            <a:custGeom>
              <a:avLst/>
              <a:gdLst>
                <a:gd name="connsiteX0" fmla="*/ 561880 w 561975"/>
                <a:gd name="connsiteY0" fmla="*/ 349975 h 695325"/>
                <a:gd name="connsiteX1" fmla="*/ 218897 w 561975"/>
                <a:gd name="connsiteY1" fmla="*/ 692793 h 695325"/>
                <a:gd name="connsiteX2" fmla="*/ 7144 w 561975"/>
                <a:gd name="connsiteY2" fmla="*/ 619533 h 695325"/>
                <a:gd name="connsiteX3" fmla="*/ 64760 w 561975"/>
                <a:gd name="connsiteY3" fmla="*/ 138034 h 695325"/>
                <a:gd name="connsiteX4" fmla="*/ 7144 w 561975"/>
                <a:gd name="connsiteY4" fmla="*/ 80418 h 695325"/>
                <a:gd name="connsiteX5" fmla="*/ 488620 w 561975"/>
                <a:gd name="connsiteY5" fmla="*/ 138222 h 695325"/>
                <a:gd name="connsiteX6" fmla="*/ 561880 w 561975"/>
                <a:gd name="connsiteY6" fmla="*/ 349975 h 695325"/>
                <a:gd name="connsiteX7" fmla="*/ 529209 w 561975"/>
                <a:gd name="connsiteY7" fmla="*/ 562478 h 695325"/>
                <a:gd name="connsiteX8" fmla="*/ 529209 w 561975"/>
                <a:gd name="connsiteY8" fmla="*/ 551429 h 695325"/>
                <a:gd name="connsiteX9" fmla="*/ 533686 w 561975"/>
                <a:gd name="connsiteY9" fmla="*/ 551429 h 695325"/>
                <a:gd name="connsiteX10" fmla="*/ 533686 w 561975"/>
                <a:gd name="connsiteY10" fmla="*/ 549143 h 695325"/>
                <a:gd name="connsiteX11" fmla="*/ 522446 w 561975"/>
                <a:gd name="connsiteY11" fmla="*/ 549143 h 695325"/>
                <a:gd name="connsiteX12" fmla="*/ 522446 w 561975"/>
                <a:gd name="connsiteY12" fmla="*/ 551429 h 695325"/>
                <a:gd name="connsiteX13" fmla="*/ 526828 w 561975"/>
                <a:gd name="connsiteY13" fmla="*/ 551429 h 695325"/>
                <a:gd name="connsiteX14" fmla="*/ 526828 w 561975"/>
                <a:gd name="connsiteY14" fmla="*/ 562478 h 695325"/>
                <a:gd name="connsiteX15" fmla="*/ 551212 w 561975"/>
                <a:gd name="connsiteY15" fmla="*/ 562478 h 695325"/>
                <a:gd name="connsiteX16" fmla="*/ 551212 w 561975"/>
                <a:gd name="connsiteY16" fmla="*/ 549143 h 695325"/>
                <a:gd name="connsiteX17" fmla="*/ 547687 w 561975"/>
                <a:gd name="connsiteY17" fmla="*/ 549143 h 695325"/>
                <a:gd name="connsiteX18" fmla="*/ 543687 w 561975"/>
                <a:gd name="connsiteY18" fmla="*/ 558668 h 695325"/>
                <a:gd name="connsiteX19" fmla="*/ 539686 w 561975"/>
                <a:gd name="connsiteY19" fmla="*/ 549143 h 695325"/>
                <a:gd name="connsiteX20" fmla="*/ 536258 w 561975"/>
                <a:gd name="connsiteY20" fmla="*/ 549143 h 695325"/>
                <a:gd name="connsiteX21" fmla="*/ 536258 w 561975"/>
                <a:gd name="connsiteY21" fmla="*/ 562478 h 695325"/>
                <a:gd name="connsiteX22" fmla="*/ 538734 w 561975"/>
                <a:gd name="connsiteY22" fmla="*/ 562478 h 695325"/>
                <a:gd name="connsiteX23" fmla="*/ 538734 w 561975"/>
                <a:gd name="connsiteY23" fmla="*/ 552382 h 695325"/>
                <a:gd name="connsiteX24" fmla="*/ 542449 w 561975"/>
                <a:gd name="connsiteY24" fmla="*/ 561049 h 695325"/>
                <a:gd name="connsiteX25" fmla="*/ 545020 w 561975"/>
                <a:gd name="connsiteY25" fmla="*/ 561049 h 695325"/>
                <a:gd name="connsiteX26" fmla="*/ 548735 w 561975"/>
                <a:gd name="connsiteY26" fmla="*/ 552382 h 695325"/>
                <a:gd name="connsiteX27" fmla="*/ 548735 w 561975"/>
                <a:gd name="connsiteY27" fmla="*/ 56247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61975" h="695325">
                  <a:moveTo>
                    <a:pt x="561880" y="349975"/>
                  </a:moveTo>
                  <a:cubicBezTo>
                    <a:pt x="561834" y="539354"/>
                    <a:pt x="408276" y="692838"/>
                    <a:pt x="218897" y="692793"/>
                  </a:cubicBezTo>
                  <a:cubicBezTo>
                    <a:pt x="142100" y="692774"/>
                    <a:pt x="67533" y="666976"/>
                    <a:pt x="7144" y="619533"/>
                  </a:cubicBezTo>
                  <a:cubicBezTo>
                    <a:pt x="156016" y="502481"/>
                    <a:pt x="181812" y="286906"/>
                    <a:pt x="64760" y="138034"/>
                  </a:cubicBezTo>
                  <a:cubicBezTo>
                    <a:pt x="47913" y="116607"/>
                    <a:pt x="28571" y="97265"/>
                    <a:pt x="7144" y="80418"/>
                  </a:cubicBezTo>
                  <a:cubicBezTo>
                    <a:pt x="156062" y="-36576"/>
                    <a:pt x="371626" y="-10696"/>
                    <a:pt x="488620" y="138222"/>
                  </a:cubicBezTo>
                  <a:cubicBezTo>
                    <a:pt x="536063" y="198612"/>
                    <a:pt x="561861" y="273179"/>
                    <a:pt x="561880" y="349975"/>
                  </a:cubicBezTo>
                  <a:close/>
                  <a:moveTo>
                    <a:pt x="529209" y="562478"/>
                  </a:moveTo>
                  <a:lnTo>
                    <a:pt x="529209" y="551429"/>
                  </a:lnTo>
                  <a:lnTo>
                    <a:pt x="533686" y="551429"/>
                  </a:lnTo>
                  <a:lnTo>
                    <a:pt x="533686" y="549143"/>
                  </a:lnTo>
                  <a:lnTo>
                    <a:pt x="522446" y="549143"/>
                  </a:lnTo>
                  <a:lnTo>
                    <a:pt x="522446" y="551429"/>
                  </a:lnTo>
                  <a:lnTo>
                    <a:pt x="526828" y="551429"/>
                  </a:lnTo>
                  <a:lnTo>
                    <a:pt x="526828" y="562478"/>
                  </a:lnTo>
                  <a:close/>
                  <a:moveTo>
                    <a:pt x="551212" y="562478"/>
                  </a:moveTo>
                  <a:lnTo>
                    <a:pt x="551212" y="549143"/>
                  </a:lnTo>
                  <a:lnTo>
                    <a:pt x="547687" y="549143"/>
                  </a:lnTo>
                  <a:lnTo>
                    <a:pt x="543687" y="558668"/>
                  </a:lnTo>
                  <a:lnTo>
                    <a:pt x="539686" y="549143"/>
                  </a:lnTo>
                  <a:lnTo>
                    <a:pt x="536258" y="549143"/>
                  </a:lnTo>
                  <a:lnTo>
                    <a:pt x="536258" y="562478"/>
                  </a:lnTo>
                  <a:lnTo>
                    <a:pt x="538734" y="562478"/>
                  </a:lnTo>
                  <a:lnTo>
                    <a:pt x="538734" y="552382"/>
                  </a:lnTo>
                  <a:lnTo>
                    <a:pt x="542449" y="561049"/>
                  </a:lnTo>
                  <a:lnTo>
                    <a:pt x="545020" y="561049"/>
                  </a:lnTo>
                  <a:lnTo>
                    <a:pt x="548735" y="552382"/>
                  </a:lnTo>
                  <a:lnTo>
                    <a:pt x="548735" y="562478"/>
                  </a:lnTo>
                  <a:close/>
                </a:path>
              </a:pathLst>
            </a:custGeom>
            <a:solidFill>
              <a:srgbClr val="F79E1B"/>
            </a:solid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9566370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Custom Image - Dark">
    <p:bg bwMode="gray">
      <p:bgPr>
        <a:solidFill>
          <a:srgbClr val="242423"/>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hasCustomPrompt="1"/>
          </p:nvPr>
        </p:nvSpPr>
        <p:spPr bwMode="gray">
          <a:xfrm>
            <a:off x="0" y="0"/>
            <a:ext cx="4572000" cy="5143500"/>
          </a:xfrm>
        </p:spPr>
        <p:txBody>
          <a:bodyPr bIns="2011680" anchor="b" anchorCtr="0"/>
          <a:lstStyle>
            <a:lvl1pPr marL="0" indent="0" algn="ctr">
              <a:buNone/>
              <a:defRPr sz="1200">
                <a:solidFill>
                  <a:srgbClr val="94918C"/>
                </a:solidFill>
                <a:latin typeface="+mn-lt"/>
              </a:defRPr>
            </a:lvl1pPr>
          </a:lstStyle>
          <a:p>
            <a:r>
              <a:rPr lang="en-US"/>
              <a:t>Click icon to add image.</a:t>
            </a:r>
            <a:br>
              <a:rPr lang="en-US"/>
            </a:br>
            <a:r>
              <a:rPr lang="en-US"/>
              <a:t>Get </a:t>
            </a:r>
            <a:r>
              <a:rPr lang="en-US" err="1"/>
              <a:t>Mastercard</a:t>
            </a:r>
            <a:r>
              <a:rPr lang="en-US"/>
              <a:t> approved photography and</a:t>
            </a:r>
            <a:br>
              <a:rPr lang="en-US"/>
            </a:br>
            <a:r>
              <a:rPr lang="en-US"/>
              <a:t>imagery guidelines at designcenter.mastercard.com.</a:t>
            </a:r>
          </a:p>
        </p:txBody>
      </p:sp>
      <p:sp>
        <p:nvSpPr>
          <p:cNvPr id="10" name="TitleSlideNameDept"/>
          <p:cNvSpPr>
            <a:spLocks noGrp="1"/>
          </p:cNvSpPr>
          <p:nvPr>
            <p:ph type="body" sz="quarter" idx="12" hasCustomPrompt="1"/>
          </p:nvPr>
        </p:nvSpPr>
        <p:spPr bwMode="gray">
          <a:xfrm>
            <a:off x="4736592" y="3466431"/>
            <a:ext cx="3124200" cy="170816"/>
          </a:xfrm>
        </p:spPr>
        <p:txBody>
          <a:bodyPr vert="horz" lIns="91440" tIns="0" rIns="91440" bIns="45720" rtlCol="0" anchor="t" anchorCtr="0">
            <a:spAutoFit/>
          </a:bodyPr>
          <a:lstStyle>
            <a:lvl1pPr marL="115885" indent="-115885">
              <a:buNone/>
              <a:defRPr lang="en-US" sz="900" b="0" cap="none" baseline="0" dirty="0" smtClean="0">
                <a:solidFill>
                  <a:srgbClr val="FFFFFF"/>
                </a:solidFill>
                <a:latin typeface="MarkForMC Nrw O" panose="020B0506020201010104" pitchFamily="34" charset="0"/>
              </a:defRPr>
            </a:lvl1pPr>
          </a:lstStyle>
          <a:p>
            <a:pPr marL="0" lvl="0" indent="0"/>
            <a:r>
              <a:rPr lang="en-US"/>
              <a:t>Click to add presenter name, department</a:t>
            </a:r>
          </a:p>
        </p:txBody>
      </p:sp>
      <p:sp>
        <p:nvSpPr>
          <p:cNvPr id="9" name="Date Placeholder 3"/>
          <p:cNvSpPr>
            <a:spLocks noGrp="1"/>
          </p:cNvSpPr>
          <p:nvPr>
            <p:ph type="dt" sz="half" idx="2"/>
          </p:nvPr>
        </p:nvSpPr>
        <p:spPr bwMode="gray">
          <a:xfrm>
            <a:off x="4736592" y="3166956"/>
            <a:ext cx="3123564" cy="273844"/>
          </a:xfrm>
          <a:prstGeom prst="rect">
            <a:avLst/>
          </a:prstGeom>
        </p:spPr>
        <p:txBody>
          <a:bodyPr vert="horz" lIns="91440" tIns="45720" rIns="91440" bIns="0" rtlCol="0" anchor="b" anchorCtr="0"/>
          <a:lstStyle>
            <a:lvl1pPr>
              <a:defRPr lang="en-US" sz="900" cap="none" smtClean="0">
                <a:solidFill>
                  <a:srgbClr val="FFFFFF"/>
                </a:solidFill>
                <a:latin typeface="MarkForMC Nrw O" panose="020B0506020201010104" pitchFamily="34" charset="0"/>
              </a:defRPr>
            </a:lvl1pPr>
          </a:lstStyle>
          <a:p>
            <a:r>
              <a:rPr lang="en-US"/>
              <a:t>February 15, 2024</a:t>
            </a:r>
          </a:p>
        </p:txBody>
      </p:sp>
      <p:sp>
        <p:nvSpPr>
          <p:cNvPr id="24" name="Subtitle 2"/>
          <p:cNvSpPr>
            <a:spLocks noGrp="1"/>
          </p:cNvSpPr>
          <p:nvPr>
            <p:ph type="subTitle" idx="1"/>
          </p:nvPr>
        </p:nvSpPr>
        <p:spPr bwMode="gray">
          <a:xfrm>
            <a:off x="4736592" y="2717911"/>
            <a:ext cx="4365625" cy="498725"/>
          </a:xfrm>
          <a:ln>
            <a:noFill/>
          </a:ln>
        </p:spPr>
        <p:txBody>
          <a:bodyPr rIns="91440"/>
          <a:lstStyle>
            <a:lvl1pPr marL="0" indent="0" algn="l">
              <a:lnSpc>
                <a:spcPct val="80000"/>
              </a:lnSpc>
              <a:buNone/>
              <a:defRPr sz="1400">
                <a:solidFill>
                  <a:srgbClr val="FFFFFF"/>
                </a:solidFill>
                <a:latin typeface="Mark Offc For MC" panose="020B0504020101010102" pitchFamily="34" charset="0"/>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Click to edit Master subtitle style</a:t>
            </a:r>
          </a:p>
        </p:txBody>
      </p:sp>
      <p:sp>
        <p:nvSpPr>
          <p:cNvPr id="23" name="Title 1"/>
          <p:cNvSpPr>
            <a:spLocks noGrp="1"/>
          </p:cNvSpPr>
          <p:nvPr>
            <p:ph type="ctrTitle"/>
          </p:nvPr>
        </p:nvSpPr>
        <p:spPr bwMode="gray">
          <a:xfrm>
            <a:off x="4736592" y="1627432"/>
            <a:ext cx="4365625" cy="1077218"/>
          </a:xfrm>
          <a:ln>
            <a:noFill/>
          </a:ln>
        </p:spPr>
        <p:txBody>
          <a:bodyPr rIns="91440" anchor="b"/>
          <a:lstStyle>
            <a:lvl1pPr algn="l">
              <a:lnSpc>
                <a:spcPct val="80000"/>
              </a:lnSpc>
              <a:defRPr sz="4000" b="0">
                <a:solidFill>
                  <a:srgbClr val="FFFFFF"/>
                </a:solidFill>
                <a:latin typeface="Mark Offc For MC Extra Light" panose="020B0404020101010102" pitchFamily="34" charset="0"/>
              </a:defRPr>
            </a:lvl1pPr>
          </a:lstStyle>
          <a:p>
            <a:r>
              <a:rPr lang="en-US"/>
              <a:t>Click to edit Master title style</a:t>
            </a:r>
          </a:p>
        </p:txBody>
      </p:sp>
      <p:grpSp>
        <p:nvGrpSpPr>
          <p:cNvPr id="15" name="Graphic 9">
            <a:extLst>
              <a:ext uri="{FF2B5EF4-FFF2-40B4-BE49-F238E27FC236}">
                <a16:creationId xmlns:a16="http://schemas.microsoft.com/office/drawing/2014/main" id="{EC174CAE-497F-4E7B-84CB-F92F060DD7F2}"/>
              </a:ext>
            </a:extLst>
          </p:cNvPr>
          <p:cNvGrpSpPr>
            <a:grpSpLocks noChangeAspect="1"/>
          </p:cNvGrpSpPr>
          <p:nvPr/>
        </p:nvGrpSpPr>
        <p:grpSpPr bwMode="gray">
          <a:xfrm>
            <a:off x="8288899" y="258318"/>
            <a:ext cx="595440" cy="370757"/>
            <a:chOff x="248864" y="1309239"/>
            <a:chExt cx="1116830" cy="695406"/>
          </a:xfrm>
        </p:grpSpPr>
        <p:sp>
          <p:nvSpPr>
            <p:cNvPr id="16" name="Freeform: Shape 15">
              <a:extLst>
                <a:ext uri="{FF2B5EF4-FFF2-40B4-BE49-F238E27FC236}">
                  <a16:creationId xmlns:a16="http://schemas.microsoft.com/office/drawing/2014/main" id="{F02112A1-9683-450E-B8A2-06BB6B84FDDE}"/>
                </a:ext>
              </a:extLst>
            </p:cNvPr>
            <p:cNvSpPr/>
            <p:nvPr/>
          </p:nvSpPr>
          <p:spPr bwMode="gray">
            <a:xfrm>
              <a:off x="653702" y="1382595"/>
              <a:ext cx="314326" cy="552451"/>
            </a:xfrm>
            <a:custGeom>
              <a:avLst/>
              <a:gdLst>
                <a:gd name="connsiteX0" fmla="*/ 7144 w 314325"/>
                <a:gd name="connsiteY0" fmla="*/ 7144 h 552450"/>
                <a:gd name="connsiteX1" fmla="*/ 307181 w 314325"/>
                <a:gd name="connsiteY1" fmla="*/ 7144 h 552450"/>
                <a:gd name="connsiteX2" fmla="*/ 307181 w 314325"/>
                <a:gd name="connsiteY2" fmla="*/ 546354 h 552450"/>
                <a:gd name="connsiteX3" fmla="*/ 7144 w 314325"/>
                <a:gd name="connsiteY3" fmla="*/ 546354 h 552450"/>
              </a:gdLst>
              <a:ahLst/>
              <a:cxnLst>
                <a:cxn ang="0">
                  <a:pos x="connsiteX0" y="connsiteY0"/>
                </a:cxn>
                <a:cxn ang="0">
                  <a:pos x="connsiteX1" y="connsiteY1"/>
                </a:cxn>
                <a:cxn ang="0">
                  <a:pos x="connsiteX2" y="connsiteY2"/>
                </a:cxn>
                <a:cxn ang="0">
                  <a:pos x="connsiteX3" y="connsiteY3"/>
                </a:cxn>
              </a:cxnLst>
              <a:rect l="l" t="t" r="r" b="b"/>
              <a:pathLst>
                <a:path w="314325" h="552450">
                  <a:moveTo>
                    <a:pt x="7144" y="7144"/>
                  </a:moveTo>
                  <a:lnTo>
                    <a:pt x="307181" y="7144"/>
                  </a:lnTo>
                  <a:lnTo>
                    <a:pt x="307181" y="546354"/>
                  </a:lnTo>
                  <a:lnTo>
                    <a:pt x="7144" y="546354"/>
                  </a:lnTo>
                  <a:close/>
                </a:path>
              </a:pathLst>
            </a:custGeom>
            <a:solidFill>
              <a:srgbClr val="FF5F00"/>
            </a:solidFill>
            <a:ln w="9525" cap="flat">
              <a:noFill/>
              <a:prstDash val="solid"/>
              <a:miter/>
            </a:ln>
          </p:spPr>
          <p:txBody>
            <a:bodyPr rtlCol="0" anchor="ctr"/>
            <a:lstStyle/>
            <a:p>
              <a:pPr lvl="0"/>
              <a:endParaRPr lang="en-US"/>
            </a:p>
          </p:txBody>
        </p:sp>
        <p:sp>
          <p:nvSpPr>
            <p:cNvPr id="17" name="Freeform: Shape 16">
              <a:extLst>
                <a:ext uri="{FF2B5EF4-FFF2-40B4-BE49-F238E27FC236}">
                  <a16:creationId xmlns:a16="http://schemas.microsoft.com/office/drawing/2014/main" id="{17D67448-829A-4CEE-8E92-CEB47F8F013D}"/>
                </a:ext>
              </a:extLst>
            </p:cNvPr>
            <p:cNvSpPr/>
            <p:nvPr/>
          </p:nvSpPr>
          <p:spPr bwMode="gray">
            <a:xfrm>
              <a:off x="248864" y="1309239"/>
              <a:ext cx="561975" cy="695324"/>
            </a:xfrm>
            <a:custGeom>
              <a:avLst/>
              <a:gdLst>
                <a:gd name="connsiteX0" fmla="*/ 431031 w 561975"/>
                <a:gd name="connsiteY0" fmla="*/ 350058 h 695325"/>
                <a:gd name="connsiteX1" fmla="*/ 562000 w 561975"/>
                <a:gd name="connsiteY1" fmla="*/ 80501 h 695325"/>
                <a:gd name="connsiteX2" fmla="*/ 80501 w 561975"/>
                <a:gd name="connsiteY2" fmla="*/ 138117 h 695325"/>
                <a:gd name="connsiteX3" fmla="*/ 138117 w 561975"/>
                <a:gd name="connsiteY3" fmla="*/ 619616 h 695325"/>
                <a:gd name="connsiteX4" fmla="*/ 562000 w 561975"/>
                <a:gd name="connsiteY4" fmla="*/ 619616 h 695325"/>
                <a:gd name="connsiteX5" fmla="*/ 431031 w 561975"/>
                <a:gd name="connsiteY5" fmla="*/ 35005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975" h="695325">
                  <a:moveTo>
                    <a:pt x="431031" y="350058"/>
                  </a:moveTo>
                  <a:cubicBezTo>
                    <a:pt x="430905" y="244845"/>
                    <a:pt x="479209" y="145428"/>
                    <a:pt x="562000" y="80501"/>
                  </a:cubicBezTo>
                  <a:cubicBezTo>
                    <a:pt x="413127" y="-36551"/>
                    <a:pt x="197553" y="-10756"/>
                    <a:pt x="80501" y="138117"/>
                  </a:cubicBezTo>
                  <a:cubicBezTo>
                    <a:pt x="-36551" y="286989"/>
                    <a:pt x="-10756" y="502564"/>
                    <a:pt x="138117" y="619616"/>
                  </a:cubicBezTo>
                  <a:cubicBezTo>
                    <a:pt x="262491" y="717406"/>
                    <a:pt x="437626" y="717406"/>
                    <a:pt x="562000" y="619616"/>
                  </a:cubicBezTo>
                  <a:cubicBezTo>
                    <a:pt x="479209" y="554688"/>
                    <a:pt x="430905" y="455272"/>
                    <a:pt x="431031" y="350058"/>
                  </a:cubicBezTo>
                  <a:close/>
                </a:path>
              </a:pathLst>
            </a:custGeom>
            <a:solidFill>
              <a:srgbClr val="EB001B"/>
            </a:solidFill>
            <a:ln w="9525" cap="flat">
              <a:noFill/>
              <a:prstDash val="solid"/>
              <a:miter/>
            </a:ln>
          </p:spPr>
          <p:txBody>
            <a:bodyPr rtlCol="0" anchor="ctr"/>
            <a:lstStyle/>
            <a:p>
              <a:pPr lvl="0"/>
              <a:endParaRPr lang="en-US"/>
            </a:p>
          </p:txBody>
        </p:sp>
        <p:sp>
          <p:nvSpPr>
            <p:cNvPr id="18" name="Freeform: Shape 17">
              <a:extLst>
                <a:ext uri="{FF2B5EF4-FFF2-40B4-BE49-F238E27FC236}">
                  <a16:creationId xmlns:a16="http://schemas.microsoft.com/office/drawing/2014/main" id="{FC655F13-44A2-4E56-BAD4-49EDFD7B63C1}"/>
                </a:ext>
              </a:extLst>
            </p:cNvPr>
            <p:cNvSpPr/>
            <p:nvPr/>
          </p:nvSpPr>
          <p:spPr bwMode="gray">
            <a:xfrm>
              <a:off x="803719" y="1309321"/>
              <a:ext cx="561975" cy="695324"/>
            </a:xfrm>
            <a:custGeom>
              <a:avLst/>
              <a:gdLst>
                <a:gd name="connsiteX0" fmla="*/ 561880 w 561975"/>
                <a:gd name="connsiteY0" fmla="*/ 349975 h 695325"/>
                <a:gd name="connsiteX1" fmla="*/ 218897 w 561975"/>
                <a:gd name="connsiteY1" fmla="*/ 692793 h 695325"/>
                <a:gd name="connsiteX2" fmla="*/ 7144 w 561975"/>
                <a:gd name="connsiteY2" fmla="*/ 619533 h 695325"/>
                <a:gd name="connsiteX3" fmla="*/ 64760 w 561975"/>
                <a:gd name="connsiteY3" fmla="*/ 138034 h 695325"/>
                <a:gd name="connsiteX4" fmla="*/ 7144 w 561975"/>
                <a:gd name="connsiteY4" fmla="*/ 80418 h 695325"/>
                <a:gd name="connsiteX5" fmla="*/ 488620 w 561975"/>
                <a:gd name="connsiteY5" fmla="*/ 138222 h 695325"/>
                <a:gd name="connsiteX6" fmla="*/ 561880 w 561975"/>
                <a:gd name="connsiteY6" fmla="*/ 349975 h 695325"/>
                <a:gd name="connsiteX7" fmla="*/ 529209 w 561975"/>
                <a:gd name="connsiteY7" fmla="*/ 562478 h 695325"/>
                <a:gd name="connsiteX8" fmla="*/ 529209 w 561975"/>
                <a:gd name="connsiteY8" fmla="*/ 551429 h 695325"/>
                <a:gd name="connsiteX9" fmla="*/ 533686 w 561975"/>
                <a:gd name="connsiteY9" fmla="*/ 551429 h 695325"/>
                <a:gd name="connsiteX10" fmla="*/ 533686 w 561975"/>
                <a:gd name="connsiteY10" fmla="*/ 549143 h 695325"/>
                <a:gd name="connsiteX11" fmla="*/ 522446 w 561975"/>
                <a:gd name="connsiteY11" fmla="*/ 549143 h 695325"/>
                <a:gd name="connsiteX12" fmla="*/ 522446 w 561975"/>
                <a:gd name="connsiteY12" fmla="*/ 551429 h 695325"/>
                <a:gd name="connsiteX13" fmla="*/ 526828 w 561975"/>
                <a:gd name="connsiteY13" fmla="*/ 551429 h 695325"/>
                <a:gd name="connsiteX14" fmla="*/ 526828 w 561975"/>
                <a:gd name="connsiteY14" fmla="*/ 562478 h 695325"/>
                <a:gd name="connsiteX15" fmla="*/ 551212 w 561975"/>
                <a:gd name="connsiteY15" fmla="*/ 562478 h 695325"/>
                <a:gd name="connsiteX16" fmla="*/ 551212 w 561975"/>
                <a:gd name="connsiteY16" fmla="*/ 549143 h 695325"/>
                <a:gd name="connsiteX17" fmla="*/ 547687 w 561975"/>
                <a:gd name="connsiteY17" fmla="*/ 549143 h 695325"/>
                <a:gd name="connsiteX18" fmla="*/ 543687 w 561975"/>
                <a:gd name="connsiteY18" fmla="*/ 558668 h 695325"/>
                <a:gd name="connsiteX19" fmla="*/ 539686 w 561975"/>
                <a:gd name="connsiteY19" fmla="*/ 549143 h 695325"/>
                <a:gd name="connsiteX20" fmla="*/ 536258 w 561975"/>
                <a:gd name="connsiteY20" fmla="*/ 549143 h 695325"/>
                <a:gd name="connsiteX21" fmla="*/ 536258 w 561975"/>
                <a:gd name="connsiteY21" fmla="*/ 562478 h 695325"/>
                <a:gd name="connsiteX22" fmla="*/ 538734 w 561975"/>
                <a:gd name="connsiteY22" fmla="*/ 562478 h 695325"/>
                <a:gd name="connsiteX23" fmla="*/ 538734 w 561975"/>
                <a:gd name="connsiteY23" fmla="*/ 552382 h 695325"/>
                <a:gd name="connsiteX24" fmla="*/ 542449 w 561975"/>
                <a:gd name="connsiteY24" fmla="*/ 561049 h 695325"/>
                <a:gd name="connsiteX25" fmla="*/ 545020 w 561975"/>
                <a:gd name="connsiteY25" fmla="*/ 561049 h 695325"/>
                <a:gd name="connsiteX26" fmla="*/ 548735 w 561975"/>
                <a:gd name="connsiteY26" fmla="*/ 552382 h 695325"/>
                <a:gd name="connsiteX27" fmla="*/ 548735 w 561975"/>
                <a:gd name="connsiteY27" fmla="*/ 56247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61975" h="695325">
                  <a:moveTo>
                    <a:pt x="561880" y="349975"/>
                  </a:moveTo>
                  <a:cubicBezTo>
                    <a:pt x="561834" y="539354"/>
                    <a:pt x="408276" y="692838"/>
                    <a:pt x="218897" y="692793"/>
                  </a:cubicBezTo>
                  <a:cubicBezTo>
                    <a:pt x="142100" y="692774"/>
                    <a:pt x="67533" y="666976"/>
                    <a:pt x="7144" y="619533"/>
                  </a:cubicBezTo>
                  <a:cubicBezTo>
                    <a:pt x="156016" y="502481"/>
                    <a:pt x="181812" y="286906"/>
                    <a:pt x="64760" y="138034"/>
                  </a:cubicBezTo>
                  <a:cubicBezTo>
                    <a:pt x="47913" y="116607"/>
                    <a:pt x="28571" y="97265"/>
                    <a:pt x="7144" y="80418"/>
                  </a:cubicBezTo>
                  <a:cubicBezTo>
                    <a:pt x="156062" y="-36576"/>
                    <a:pt x="371626" y="-10696"/>
                    <a:pt x="488620" y="138222"/>
                  </a:cubicBezTo>
                  <a:cubicBezTo>
                    <a:pt x="536063" y="198612"/>
                    <a:pt x="561861" y="273179"/>
                    <a:pt x="561880" y="349975"/>
                  </a:cubicBezTo>
                  <a:close/>
                  <a:moveTo>
                    <a:pt x="529209" y="562478"/>
                  </a:moveTo>
                  <a:lnTo>
                    <a:pt x="529209" y="551429"/>
                  </a:lnTo>
                  <a:lnTo>
                    <a:pt x="533686" y="551429"/>
                  </a:lnTo>
                  <a:lnTo>
                    <a:pt x="533686" y="549143"/>
                  </a:lnTo>
                  <a:lnTo>
                    <a:pt x="522446" y="549143"/>
                  </a:lnTo>
                  <a:lnTo>
                    <a:pt x="522446" y="551429"/>
                  </a:lnTo>
                  <a:lnTo>
                    <a:pt x="526828" y="551429"/>
                  </a:lnTo>
                  <a:lnTo>
                    <a:pt x="526828" y="562478"/>
                  </a:lnTo>
                  <a:close/>
                  <a:moveTo>
                    <a:pt x="551212" y="562478"/>
                  </a:moveTo>
                  <a:lnTo>
                    <a:pt x="551212" y="549143"/>
                  </a:lnTo>
                  <a:lnTo>
                    <a:pt x="547687" y="549143"/>
                  </a:lnTo>
                  <a:lnTo>
                    <a:pt x="543687" y="558668"/>
                  </a:lnTo>
                  <a:lnTo>
                    <a:pt x="539686" y="549143"/>
                  </a:lnTo>
                  <a:lnTo>
                    <a:pt x="536258" y="549143"/>
                  </a:lnTo>
                  <a:lnTo>
                    <a:pt x="536258" y="562478"/>
                  </a:lnTo>
                  <a:lnTo>
                    <a:pt x="538734" y="562478"/>
                  </a:lnTo>
                  <a:lnTo>
                    <a:pt x="538734" y="552382"/>
                  </a:lnTo>
                  <a:lnTo>
                    <a:pt x="542449" y="561049"/>
                  </a:lnTo>
                  <a:lnTo>
                    <a:pt x="545020" y="561049"/>
                  </a:lnTo>
                  <a:lnTo>
                    <a:pt x="548735" y="552382"/>
                  </a:lnTo>
                  <a:lnTo>
                    <a:pt x="548735" y="562478"/>
                  </a:lnTo>
                  <a:close/>
                </a:path>
              </a:pathLst>
            </a:custGeom>
            <a:solidFill>
              <a:srgbClr val="F79E1B"/>
            </a:solid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4558667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Custom Image - Light">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1" hasCustomPrompt="1"/>
          </p:nvPr>
        </p:nvSpPr>
        <p:spPr bwMode="gray">
          <a:xfrm>
            <a:off x="0" y="0"/>
            <a:ext cx="4572000" cy="5143500"/>
          </a:xfrm>
        </p:spPr>
        <p:txBody>
          <a:bodyPr bIns="2011680" anchor="b" anchorCtr="0"/>
          <a:lstStyle>
            <a:lvl1pPr marL="0" indent="0" algn="ctr">
              <a:buNone/>
              <a:defRPr sz="1200">
                <a:solidFill>
                  <a:srgbClr val="B9B9B9"/>
                </a:solidFill>
                <a:latin typeface="+mn-lt"/>
              </a:defRPr>
            </a:lvl1pPr>
          </a:lstStyle>
          <a:p>
            <a:r>
              <a:rPr lang="en-US"/>
              <a:t>Click icon to add image.</a:t>
            </a:r>
            <a:br>
              <a:rPr lang="en-US"/>
            </a:br>
            <a:r>
              <a:rPr lang="en-US"/>
              <a:t>Get </a:t>
            </a:r>
            <a:r>
              <a:rPr lang="en-US" err="1"/>
              <a:t>Mastercard</a:t>
            </a:r>
            <a:r>
              <a:rPr lang="en-US"/>
              <a:t> approved photography and</a:t>
            </a:r>
            <a:br>
              <a:rPr lang="en-US"/>
            </a:br>
            <a:r>
              <a:rPr lang="en-US"/>
              <a:t>imagery guidelines at designcenter.mastercard.com.</a:t>
            </a:r>
          </a:p>
        </p:txBody>
      </p:sp>
      <p:sp>
        <p:nvSpPr>
          <p:cNvPr id="10" name="TitleSlideNameDept"/>
          <p:cNvSpPr>
            <a:spLocks noGrp="1"/>
          </p:cNvSpPr>
          <p:nvPr>
            <p:ph type="body" sz="quarter" idx="12" hasCustomPrompt="1"/>
          </p:nvPr>
        </p:nvSpPr>
        <p:spPr bwMode="gray">
          <a:xfrm>
            <a:off x="4736592" y="3466431"/>
            <a:ext cx="3124200" cy="170816"/>
          </a:xfrm>
        </p:spPr>
        <p:txBody>
          <a:bodyPr vert="horz" lIns="91440" tIns="0" rIns="91440" bIns="45720" rtlCol="0" anchor="t" anchorCtr="0">
            <a:spAutoFit/>
          </a:bodyPr>
          <a:lstStyle>
            <a:lvl1pPr marL="115885" indent="-115885">
              <a:buNone/>
              <a:defRPr lang="en-US" sz="900" b="0" cap="none" baseline="0" dirty="0" smtClean="0">
                <a:latin typeface="MarkForMC Nrw O" panose="020B0506020201010104" pitchFamily="34" charset="0"/>
              </a:defRPr>
            </a:lvl1pPr>
          </a:lstStyle>
          <a:p>
            <a:pPr marL="0" lvl="0" indent="0"/>
            <a:r>
              <a:rPr lang="en-US"/>
              <a:t>Click to add presenter name, department</a:t>
            </a:r>
          </a:p>
        </p:txBody>
      </p:sp>
      <p:sp>
        <p:nvSpPr>
          <p:cNvPr id="8" name="Date Placeholder 3"/>
          <p:cNvSpPr>
            <a:spLocks noGrp="1"/>
          </p:cNvSpPr>
          <p:nvPr>
            <p:ph type="dt" sz="half" idx="2"/>
          </p:nvPr>
        </p:nvSpPr>
        <p:spPr bwMode="gray">
          <a:xfrm>
            <a:off x="4736592" y="3166956"/>
            <a:ext cx="3123564" cy="273844"/>
          </a:xfrm>
          <a:prstGeom prst="rect">
            <a:avLst/>
          </a:prstGeom>
        </p:spPr>
        <p:txBody>
          <a:bodyPr vert="horz" lIns="91440" tIns="45720" rIns="91440" bIns="0" rtlCol="0" anchor="b" anchorCtr="0"/>
          <a:lstStyle>
            <a:lvl1pPr>
              <a:defRPr lang="en-US" sz="900" cap="none" smtClean="0">
                <a:latin typeface="MarkForMC Nrw O" panose="020B0506020201010104" pitchFamily="34" charset="0"/>
              </a:defRPr>
            </a:lvl1pPr>
          </a:lstStyle>
          <a:p>
            <a:r>
              <a:rPr lang="en-US"/>
              <a:t>February 15, 2024</a:t>
            </a:r>
          </a:p>
        </p:txBody>
      </p:sp>
      <p:sp>
        <p:nvSpPr>
          <p:cNvPr id="24" name="Subtitle 2"/>
          <p:cNvSpPr>
            <a:spLocks noGrp="1"/>
          </p:cNvSpPr>
          <p:nvPr>
            <p:ph type="subTitle" idx="1"/>
          </p:nvPr>
        </p:nvSpPr>
        <p:spPr bwMode="gray">
          <a:xfrm>
            <a:off x="4736592" y="2717911"/>
            <a:ext cx="4365625" cy="498725"/>
          </a:xfrm>
          <a:ln>
            <a:noFill/>
          </a:ln>
        </p:spPr>
        <p:txBody>
          <a:bodyPr rIns="91440"/>
          <a:lstStyle>
            <a:lvl1pPr marL="0" indent="0" algn="l">
              <a:lnSpc>
                <a:spcPct val="80000"/>
              </a:lnSpc>
              <a:buNone/>
              <a:defRPr sz="1400">
                <a:solidFill>
                  <a:schemeClr val="tx1"/>
                </a:solidFill>
                <a:latin typeface="Mark Offc For MC" panose="020B0504020101010102" pitchFamily="34" charset="0"/>
              </a:defRPr>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Click to edit Master subtitle style</a:t>
            </a:r>
          </a:p>
        </p:txBody>
      </p:sp>
      <p:sp>
        <p:nvSpPr>
          <p:cNvPr id="23" name="Title 1"/>
          <p:cNvSpPr>
            <a:spLocks noGrp="1"/>
          </p:cNvSpPr>
          <p:nvPr>
            <p:ph type="ctrTitle"/>
          </p:nvPr>
        </p:nvSpPr>
        <p:spPr bwMode="gray">
          <a:xfrm>
            <a:off x="4736592" y="1627432"/>
            <a:ext cx="4365625" cy="1077218"/>
          </a:xfrm>
          <a:ln>
            <a:noFill/>
          </a:ln>
        </p:spPr>
        <p:txBody>
          <a:bodyPr rIns="91440" anchor="b"/>
          <a:lstStyle>
            <a:lvl1pPr algn="l">
              <a:lnSpc>
                <a:spcPct val="80000"/>
              </a:lnSpc>
              <a:defRPr sz="4000" b="0">
                <a:solidFill>
                  <a:schemeClr val="tx1"/>
                </a:solidFill>
                <a:latin typeface="Mark Offc For MC Extra Light" panose="020B0404020101010102" pitchFamily="34" charset="0"/>
              </a:defRPr>
            </a:lvl1pPr>
          </a:lstStyle>
          <a:p>
            <a:r>
              <a:rPr lang="en-US"/>
              <a:t>Click to edit Master title style</a:t>
            </a:r>
          </a:p>
        </p:txBody>
      </p:sp>
      <p:grpSp>
        <p:nvGrpSpPr>
          <p:cNvPr id="15" name="Graphic 9">
            <a:extLst>
              <a:ext uri="{FF2B5EF4-FFF2-40B4-BE49-F238E27FC236}">
                <a16:creationId xmlns:a16="http://schemas.microsoft.com/office/drawing/2014/main" id="{D987D73D-9CBF-4D4A-9C6D-C2A04B4CDB30}"/>
              </a:ext>
            </a:extLst>
          </p:cNvPr>
          <p:cNvGrpSpPr>
            <a:grpSpLocks noChangeAspect="1"/>
          </p:cNvGrpSpPr>
          <p:nvPr/>
        </p:nvGrpSpPr>
        <p:grpSpPr bwMode="gray">
          <a:xfrm>
            <a:off x="8288899" y="258318"/>
            <a:ext cx="595440" cy="370757"/>
            <a:chOff x="248864" y="1309239"/>
            <a:chExt cx="1116830" cy="695406"/>
          </a:xfrm>
        </p:grpSpPr>
        <p:sp>
          <p:nvSpPr>
            <p:cNvPr id="16" name="Freeform: Shape 15">
              <a:extLst>
                <a:ext uri="{FF2B5EF4-FFF2-40B4-BE49-F238E27FC236}">
                  <a16:creationId xmlns:a16="http://schemas.microsoft.com/office/drawing/2014/main" id="{C2464F4A-AA1E-412C-AC88-620F9044FCB8}"/>
                </a:ext>
              </a:extLst>
            </p:cNvPr>
            <p:cNvSpPr/>
            <p:nvPr/>
          </p:nvSpPr>
          <p:spPr bwMode="gray">
            <a:xfrm>
              <a:off x="653702" y="1382595"/>
              <a:ext cx="314326" cy="552451"/>
            </a:xfrm>
            <a:custGeom>
              <a:avLst/>
              <a:gdLst>
                <a:gd name="connsiteX0" fmla="*/ 7144 w 314325"/>
                <a:gd name="connsiteY0" fmla="*/ 7144 h 552450"/>
                <a:gd name="connsiteX1" fmla="*/ 307181 w 314325"/>
                <a:gd name="connsiteY1" fmla="*/ 7144 h 552450"/>
                <a:gd name="connsiteX2" fmla="*/ 307181 w 314325"/>
                <a:gd name="connsiteY2" fmla="*/ 546354 h 552450"/>
                <a:gd name="connsiteX3" fmla="*/ 7144 w 314325"/>
                <a:gd name="connsiteY3" fmla="*/ 546354 h 552450"/>
              </a:gdLst>
              <a:ahLst/>
              <a:cxnLst>
                <a:cxn ang="0">
                  <a:pos x="connsiteX0" y="connsiteY0"/>
                </a:cxn>
                <a:cxn ang="0">
                  <a:pos x="connsiteX1" y="connsiteY1"/>
                </a:cxn>
                <a:cxn ang="0">
                  <a:pos x="connsiteX2" y="connsiteY2"/>
                </a:cxn>
                <a:cxn ang="0">
                  <a:pos x="connsiteX3" y="connsiteY3"/>
                </a:cxn>
              </a:cxnLst>
              <a:rect l="l" t="t" r="r" b="b"/>
              <a:pathLst>
                <a:path w="314325" h="552450">
                  <a:moveTo>
                    <a:pt x="7144" y="7144"/>
                  </a:moveTo>
                  <a:lnTo>
                    <a:pt x="307181" y="7144"/>
                  </a:lnTo>
                  <a:lnTo>
                    <a:pt x="307181" y="546354"/>
                  </a:lnTo>
                  <a:lnTo>
                    <a:pt x="7144" y="546354"/>
                  </a:lnTo>
                  <a:close/>
                </a:path>
              </a:pathLst>
            </a:custGeom>
            <a:solidFill>
              <a:srgbClr val="FF5F00"/>
            </a:solidFill>
            <a:ln w="9525" cap="flat">
              <a:noFill/>
              <a:prstDash val="solid"/>
              <a:miter/>
            </a:ln>
          </p:spPr>
          <p:txBody>
            <a:bodyPr rtlCol="0" anchor="ctr"/>
            <a:lstStyle/>
            <a:p>
              <a:pPr lvl="0"/>
              <a:endParaRPr lang="en-US"/>
            </a:p>
          </p:txBody>
        </p:sp>
        <p:sp>
          <p:nvSpPr>
            <p:cNvPr id="17" name="Freeform: Shape 16">
              <a:extLst>
                <a:ext uri="{FF2B5EF4-FFF2-40B4-BE49-F238E27FC236}">
                  <a16:creationId xmlns:a16="http://schemas.microsoft.com/office/drawing/2014/main" id="{6659E2ED-8B2B-4FC0-8A68-EBBCA7E2F04A}"/>
                </a:ext>
              </a:extLst>
            </p:cNvPr>
            <p:cNvSpPr/>
            <p:nvPr/>
          </p:nvSpPr>
          <p:spPr bwMode="gray">
            <a:xfrm>
              <a:off x="248864" y="1309239"/>
              <a:ext cx="561975" cy="695324"/>
            </a:xfrm>
            <a:custGeom>
              <a:avLst/>
              <a:gdLst>
                <a:gd name="connsiteX0" fmla="*/ 431031 w 561975"/>
                <a:gd name="connsiteY0" fmla="*/ 350058 h 695325"/>
                <a:gd name="connsiteX1" fmla="*/ 562000 w 561975"/>
                <a:gd name="connsiteY1" fmla="*/ 80501 h 695325"/>
                <a:gd name="connsiteX2" fmla="*/ 80501 w 561975"/>
                <a:gd name="connsiteY2" fmla="*/ 138117 h 695325"/>
                <a:gd name="connsiteX3" fmla="*/ 138117 w 561975"/>
                <a:gd name="connsiteY3" fmla="*/ 619616 h 695325"/>
                <a:gd name="connsiteX4" fmla="*/ 562000 w 561975"/>
                <a:gd name="connsiteY4" fmla="*/ 619616 h 695325"/>
                <a:gd name="connsiteX5" fmla="*/ 431031 w 561975"/>
                <a:gd name="connsiteY5" fmla="*/ 35005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975" h="695325">
                  <a:moveTo>
                    <a:pt x="431031" y="350058"/>
                  </a:moveTo>
                  <a:cubicBezTo>
                    <a:pt x="430905" y="244845"/>
                    <a:pt x="479209" y="145428"/>
                    <a:pt x="562000" y="80501"/>
                  </a:cubicBezTo>
                  <a:cubicBezTo>
                    <a:pt x="413127" y="-36551"/>
                    <a:pt x="197553" y="-10756"/>
                    <a:pt x="80501" y="138117"/>
                  </a:cubicBezTo>
                  <a:cubicBezTo>
                    <a:pt x="-36551" y="286989"/>
                    <a:pt x="-10756" y="502564"/>
                    <a:pt x="138117" y="619616"/>
                  </a:cubicBezTo>
                  <a:cubicBezTo>
                    <a:pt x="262491" y="717406"/>
                    <a:pt x="437626" y="717406"/>
                    <a:pt x="562000" y="619616"/>
                  </a:cubicBezTo>
                  <a:cubicBezTo>
                    <a:pt x="479209" y="554688"/>
                    <a:pt x="430905" y="455272"/>
                    <a:pt x="431031" y="350058"/>
                  </a:cubicBezTo>
                  <a:close/>
                </a:path>
              </a:pathLst>
            </a:custGeom>
            <a:solidFill>
              <a:srgbClr val="EB001B"/>
            </a:solidFill>
            <a:ln w="9525" cap="flat">
              <a:noFill/>
              <a:prstDash val="solid"/>
              <a:miter/>
            </a:ln>
          </p:spPr>
          <p:txBody>
            <a:bodyPr rtlCol="0" anchor="ctr"/>
            <a:lstStyle/>
            <a:p>
              <a:pPr lvl="0"/>
              <a:endParaRPr lang="en-US"/>
            </a:p>
          </p:txBody>
        </p:sp>
        <p:sp>
          <p:nvSpPr>
            <p:cNvPr id="18" name="Freeform: Shape 17">
              <a:extLst>
                <a:ext uri="{FF2B5EF4-FFF2-40B4-BE49-F238E27FC236}">
                  <a16:creationId xmlns:a16="http://schemas.microsoft.com/office/drawing/2014/main" id="{B48818FD-F4B8-4217-A2EA-8851C8CEE666}"/>
                </a:ext>
              </a:extLst>
            </p:cNvPr>
            <p:cNvSpPr/>
            <p:nvPr/>
          </p:nvSpPr>
          <p:spPr bwMode="gray">
            <a:xfrm>
              <a:off x="803719" y="1309321"/>
              <a:ext cx="561975" cy="695324"/>
            </a:xfrm>
            <a:custGeom>
              <a:avLst/>
              <a:gdLst>
                <a:gd name="connsiteX0" fmla="*/ 561880 w 561975"/>
                <a:gd name="connsiteY0" fmla="*/ 349975 h 695325"/>
                <a:gd name="connsiteX1" fmla="*/ 218897 w 561975"/>
                <a:gd name="connsiteY1" fmla="*/ 692793 h 695325"/>
                <a:gd name="connsiteX2" fmla="*/ 7144 w 561975"/>
                <a:gd name="connsiteY2" fmla="*/ 619533 h 695325"/>
                <a:gd name="connsiteX3" fmla="*/ 64760 w 561975"/>
                <a:gd name="connsiteY3" fmla="*/ 138034 h 695325"/>
                <a:gd name="connsiteX4" fmla="*/ 7144 w 561975"/>
                <a:gd name="connsiteY4" fmla="*/ 80418 h 695325"/>
                <a:gd name="connsiteX5" fmla="*/ 488620 w 561975"/>
                <a:gd name="connsiteY5" fmla="*/ 138222 h 695325"/>
                <a:gd name="connsiteX6" fmla="*/ 561880 w 561975"/>
                <a:gd name="connsiteY6" fmla="*/ 349975 h 695325"/>
                <a:gd name="connsiteX7" fmla="*/ 529209 w 561975"/>
                <a:gd name="connsiteY7" fmla="*/ 562478 h 695325"/>
                <a:gd name="connsiteX8" fmla="*/ 529209 w 561975"/>
                <a:gd name="connsiteY8" fmla="*/ 551429 h 695325"/>
                <a:gd name="connsiteX9" fmla="*/ 533686 w 561975"/>
                <a:gd name="connsiteY9" fmla="*/ 551429 h 695325"/>
                <a:gd name="connsiteX10" fmla="*/ 533686 w 561975"/>
                <a:gd name="connsiteY10" fmla="*/ 549143 h 695325"/>
                <a:gd name="connsiteX11" fmla="*/ 522446 w 561975"/>
                <a:gd name="connsiteY11" fmla="*/ 549143 h 695325"/>
                <a:gd name="connsiteX12" fmla="*/ 522446 w 561975"/>
                <a:gd name="connsiteY12" fmla="*/ 551429 h 695325"/>
                <a:gd name="connsiteX13" fmla="*/ 526828 w 561975"/>
                <a:gd name="connsiteY13" fmla="*/ 551429 h 695325"/>
                <a:gd name="connsiteX14" fmla="*/ 526828 w 561975"/>
                <a:gd name="connsiteY14" fmla="*/ 562478 h 695325"/>
                <a:gd name="connsiteX15" fmla="*/ 551212 w 561975"/>
                <a:gd name="connsiteY15" fmla="*/ 562478 h 695325"/>
                <a:gd name="connsiteX16" fmla="*/ 551212 w 561975"/>
                <a:gd name="connsiteY16" fmla="*/ 549143 h 695325"/>
                <a:gd name="connsiteX17" fmla="*/ 547687 w 561975"/>
                <a:gd name="connsiteY17" fmla="*/ 549143 h 695325"/>
                <a:gd name="connsiteX18" fmla="*/ 543687 w 561975"/>
                <a:gd name="connsiteY18" fmla="*/ 558668 h 695325"/>
                <a:gd name="connsiteX19" fmla="*/ 539686 w 561975"/>
                <a:gd name="connsiteY19" fmla="*/ 549143 h 695325"/>
                <a:gd name="connsiteX20" fmla="*/ 536258 w 561975"/>
                <a:gd name="connsiteY20" fmla="*/ 549143 h 695325"/>
                <a:gd name="connsiteX21" fmla="*/ 536258 w 561975"/>
                <a:gd name="connsiteY21" fmla="*/ 562478 h 695325"/>
                <a:gd name="connsiteX22" fmla="*/ 538734 w 561975"/>
                <a:gd name="connsiteY22" fmla="*/ 562478 h 695325"/>
                <a:gd name="connsiteX23" fmla="*/ 538734 w 561975"/>
                <a:gd name="connsiteY23" fmla="*/ 552382 h 695325"/>
                <a:gd name="connsiteX24" fmla="*/ 542449 w 561975"/>
                <a:gd name="connsiteY24" fmla="*/ 561049 h 695325"/>
                <a:gd name="connsiteX25" fmla="*/ 545020 w 561975"/>
                <a:gd name="connsiteY25" fmla="*/ 561049 h 695325"/>
                <a:gd name="connsiteX26" fmla="*/ 548735 w 561975"/>
                <a:gd name="connsiteY26" fmla="*/ 552382 h 695325"/>
                <a:gd name="connsiteX27" fmla="*/ 548735 w 561975"/>
                <a:gd name="connsiteY27" fmla="*/ 56247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61975" h="695325">
                  <a:moveTo>
                    <a:pt x="561880" y="349975"/>
                  </a:moveTo>
                  <a:cubicBezTo>
                    <a:pt x="561834" y="539354"/>
                    <a:pt x="408276" y="692838"/>
                    <a:pt x="218897" y="692793"/>
                  </a:cubicBezTo>
                  <a:cubicBezTo>
                    <a:pt x="142100" y="692774"/>
                    <a:pt x="67533" y="666976"/>
                    <a:pt x="7144" y="619533"/>
                  </a:cubicBezTo>
                  <a:cubicBezTo>
                    <a:pt x="156016" y="502481"/>
                    <a:pt x="181812" y="286906"/>
                    <a:pt x="64760" y="138034"/>
                  </a:cubicBezTo>
                  <a:cubicBezTo>
                    <a:pt x="47913" y="116607"/>
                    <a:pt x="28571" y="97265"/>
                    <a:pt x="7144" y="80418"/>
                  </a:cubicBezTo>
                  <a:cubicBezTo>
                    <a:pt x="156062" y="-36576"/>
                    <a:pt x="371626" y="-10696"/>
                    <a:pt x="488620" y="138222"/>
                  </a:cubicBezTo>
                  <a:cubicBezTo>
                    <a:pt x="536063" y="198612"/>
                    <a:pt x="561861" y="273179"/>
                    <a:pt x="561880" y="349975"/>
                  </a:cubicBezTo>
                  <a:close/>
                  <a:moveTo>
                    <a:pt x="529209" y="562478"/>
                  </a:moveTo>
                  <a:lnTo>
                    <a:pt x="529209" y="551429"/>
                  </a:lnTo>
                  <a:lnTo>
                    <a:pt x="533686" y="551429"/>
                  </a:lnTo>
                  <a:lnTo>
                    <a:pt x="533686" y="549143"/>
                  </a:lnTo>
                  <a:lnTo>
                    <a:pt x="522446" y="549143"/>
                  </a:lnTo>
                  <a:lnTo>
                    <a:pt x="522446" y="551429"/>
                  </a:lnTo>
                  <a:lnTo>
                    <a:pt x="526828" y="551429"/>
                  </a:lnTo>
                  <a:lnTo>
                    <a:pt x="526828" y="562478"/>
                  </a:lnTo>
                  <a:close/>
                  <a:moveTo>
                    <a:pt x="551212" y="562478"/>
                  </a:moveTo>
                  <a:lnTo>
                    <a:pt x="551212" y="549143"/>
                  </a:lnTo>
                  <a:lnTo>
                    <a:pt x="547687" y="549143"/>
                  </a:lnTo>
                  <a:lnTo>
                    <a:pt x="543687" y="558668"/>
                  </a:lnTo>
                  <a:lnTo>
                    <a:pt x="539686" y="549143"/>
                  </a:lnTo>
                  <a:lnTo>
                    <a:pt x="536258" y="549143"/>
                  </a:lnTo>
                  <a:lnTo>
                    <a:pt x="536258" y="562478"/>
                  </a:lnTo>
                  <a:lnTo>
                    <a:pt x="538734" y="562478"/>
                  </a:lnTo>
                  <a:lnTo>
                    <a:pt x="538734" y="552382"/>
                  </a:lnTo>
                  <a:lnTo>
                    <a:pt x="542449" y="561049"/>
                  </a:lnTo>
                  <a:lnTo>
                    <a:pt x="545020" y="561049"/>
                  </a:lnTo>
                  <a:lnTo>
                    <a:pt x="548735" y="552382"/>
                  </a:lnTo>
                  <a:lnTo>
                    <a:pt x="548735" y="562478"/>
                  </a:lnTo>
                  <a:close/>
                </a:path>
              </a:pathLst>
            </a:custGeom>
            <a:solidFill>
              <a:srgbClr val="F79E1B"/>
            </a:solid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26118693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able of Contents">
    <p:bg bwMode="gray">
      <p:bgPr>
        <a:solidFill>
          <a:schemeClr val="bg1"/>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a:p>
        </p:txBody>
      </p:sp>
      <p:sp>
        <p:nvSpPr>
          <p:cNvPr id="12" name="Footer Placeholder 4"/>
          <p:cNvSpPr>
            <a:spLocks noGrp="1"/>
          </p:cNvSpPr>
          <p:nvPr>
            <p:ph type="ftr" sz="quarter" idx="16"/>
          </p:nvPr>
        </p:nvSpPr>
        <p:spPr bwMode="gray"/>
        <p:txBody>
          <a:bodyPr/>
          <a:lstStyle/>
          <a:p>
            <a:endParaRPr lang="en-US"/>
          </a:p>
        </p:txBody>
      </p:sp>
      <p:sp>
        <p:nvSpPr>
          <p:cNvPr id="11" name="Date Placeholder 3"/>
          <p:cNvSpPr>
            <a:spLocks noGrp="1"/>
          </p:cNvSpPr>
          <p:nvPr>
            <p:ph type="dt" sz="half" idx="15"/>
          </p:nvPr>
        </p:nvSpPr>
        <p:spPr bwMode="gray"/>
        <p:txBody>
          <a:bodyPr/>
          <a:lstStyle/>
          <a:p>
            <a:r>
              <a:rPr lang="en-US"/>
              <a:t>February 15, 2024</a:t>
            </a:r>
          </a:p>
        </p:txBody>
      </p:sp>
      <p:sp>
        <p:nvSpPr>
          <p:cNvPr id="8" name="Text Placeholder 7"/>
          <p:cNvSpPr>
            <a:spLocks noGrp="1"/>
          </p:cNvSpPr>
          <p:nvPr>
            <p:ph type="body" sz="quarter" idx="14"/>
          </p:nvPr>
        </p:nvSpPr>
        <p:spPr bwMode="gray">
          <a:xfrm>
            <a:off x="3119438" y="727556"/>
            <a:ext cx="5458009" cy="3588412"/>
          </a:xfrm>
        </p:spPr>
        <p:txBody>
          <a:bodyPr/>
          <a:lstStyle>
            <a:lvl1pPr marL="342900" indent="-342900">
              <a:buSzPct val="50000"/>
              <a:buFont typeface="+mj-lt"/>
              <a:buAutoNum type="arabicPeriod"/>
              <a:defRPr sz="2200"/>
            </a:lvl1pPr>
            <a:lvl2pPr marL="511175" indent="-138113">
              <a:buFont typeface="Mark Offc For MC" panose="020B0604020202020204" pitchFamily="34" charset="0"/>
              <a:buChar char="•"/>
              <a:defRPr/>
            </a:lvl2pPr>
            <a:lvl3pPr marL="514350" indent="0">
              <a:buNone/>
              <a:defRPr/>
            </a:lvl3pPr>
            <a:lvl4pPr marL="747713" indent="-131763">
              <a:defRPr/>
            </a:lvl4pPr>
            <a:lvl5pPr marL="855663" indent="-114300">
              <a:defRPr/>
            </a:lvl5pPr>
          </a:lstStyle>
          <a:p>
            <a:pPr lvl="0"/>
            <a:r>
              <a:rPr lang="en-US"/>
              <a:t>Click to edit Master text styles</a:t>
            </a:r>
          </a:p>
          <a:p>
            <a:pPr lvl="1"/>
            <a:r>
              <a:rPr lang="en-US"/>
              <a:t>Second level</a:t>
            </a:r>
          </a:p>
        </p:txBody>
      </p:sp>
      <p:sp>
        <p:nvSpPr>
          <p:cNvPr id="22" name="Subtitle 2"/>
          <p:cNvSpPr>
            <a:spLocks noGrp="1"/>
          </p:cNvSpPr>
          <p:nvPr>
            <p:ph type="body" idx="13" hasCustomPrompt="1"/>
          </p:nvPr>
        </p:nvSpPr>
        <p:spPr bwMode="gray">
          <a:xfrm>
            <a:off x="164592" y="727556"/>
            <a:ext cx="2725896" cy="717196"/>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Click to add subtitle or secondary text</a:t>
            </a:r>
          </a:p>
        </p:txBody>
      </p:sp>
      <p:sp>
        <p:nvSpPr>
          <p:cNvPr id="7" name="Title 1"/>
          <p:cNvSpPr>
            <a:spLocks noGrp="1"/>
          </p:cNvSpPr>
          <p:nvPr>
            <p:ph type="title"/>
          </p:nvPr>
        </p:nvSpPr>
        <p:spPr bwMode="gray">
          <a:xfrm>
            <a:off x="164594" y="192025"/>
            <a:ext cx="8412854" cy="310896"/>
          </a:xfrm>
        </p:spPr>
        <p:txBody>
          <a:bodyPr/>
          <a:lstStyle/>
          <a:p>
            <a:r>
              <a:rPr lang="en-US"/>
              <a:t>Click to edit Master title style</a:t>
            </a:r>
          </a:p>
        </p:txBody>
      </p:sp>
    </p:spTree>
    <p:extLst>
      <p:ext uri="{BB962C8B-B14F-4D97-AF65-F5344CB8AC3E}">
        <p14:creationId xmlns:p14="http://schemas.microsoft.com/office/powerpoint/2010/main" val="39338740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bg bwMode="gray">
      <p:bgPr>
        <a:solidFill>
          <a:schemeClr val="bg1"/>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a:p>
        </p:txBody>
      </p:sp>
      <p:sp>
        <p:nvSpPr>
          <p:cNvPr id="12" name="Footer Placeholder 4"/>
          <p:cNvSpPr>
            <a:spLocks noGrp="1"/>
          </p:cNvSpPr>
          <p:nvPr>
            <p:ph type="ftr" sz="quarter" idx="16"/>
          </p:nvPr>
        </p:nvSpPr>
        <p:spPr bwMode="gray"/>
        <p:txBody>
          <a:bodyPr/>
          <a:lstStyle/>
          <a:p>
            <a:endParaRPr lang="en-US"/>
          </a:p>
        </p:txBody>
      </p:sp>
      <p:sp>
        <p:nvSpPr>
          <p:cNvPr id="11" name="Date Placeholder 3"/>
          <p:cNvSpPr>
            <a:spLocks noGrp="1"/>
          </p:cNvSpPr>
          <p:nvPr>
            <p:ph type="dt" sz="half" idx="15"/>
          </p:nvPr>
        </p:nvSpPr>
        <p:spPr bwMode="gray"/>
        <p:txBody>
          <a:bodyPr/>
          <a:lstStyle/>
          <a:p>
            <a:r>
              <a:rPr lang="en-US"/>
              <a:t>February 15, 2024</a:t>
            </a:r>
          </a:p>
        </p:txBody>
      </p:sp>
      <p:sp>
        <p:nvSpPr>
          <p:cNvPr id="8" name="Text Placeholder 7"/>
          <p:cNvSpPr>
            <a:spLocks noGrp="1"/>
          </p:cNvSpPr>
          <p:nvPr>
            <p:ph type="body" sz="quarter" idx="14"/>
          </p:nvPr>
        </p:nvSpPr>
        <p:spPr bwMode="gray">
          <a:xfrm>
            <a:off x="3119438" y="192088"/>
            <a:ext cx="5458009" cy="41257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36908755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long) and Content">
    <p:bg bwMode="gray">
      <p:bgPr>
        <a:solidFill>
          <a:schemeClr val="bg1"/>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a:p>
        </p:txBody>
      </p:sp>
      <p:sp>
        <p:nvSpPr>
          <p:cNvPr id="12" name="Footer Placeholder 4"/>
          <p:cNvSpPr>
            <a:spLocks noGrp="1"/>
          </p:cNvSpPr>
          <p:nvPr>
            <p:ph type="ftr" sz="quarter" idx="16"/>
          </p:nvPr>
        </p:nvSpPr>
        <p:spPr bwMode="gray"/>
        <p:txBody>
          <a:bodyPr/>
          <a:lstStyle/>
          <a:p>
            <a:endParaRPr lang="en-US"/>
          </a:p>
        </p:txBody>
      </p:sp>
      <p:sp>
        <p:nvSpPr>
          <p:cNvPr id="11" name="Date Placeholder 3"/>
          <p:cNvSpPr>
            <a:spLocks noGrp="1"/>
          </p:cNvSpPr>
          <p:nvPr>
            <p:ph type="dt" sz="half" idx="15"/>
          </p:nvPr>
        </p:nvSpPr>
        <p:spPr bwMode="gray"/>
        <p:txBody>
          <a:bodyPr/>
          <a:lstStyle/>
          <a:p>
            <a:r>
              <a:rPr lang="en-US"/>
              <a:t>February 15, 2024</a:t>
            </a:r>
          </a:p>
        </p:txBody>
      </p:sp>
      <p:sp>
        <p:nvSpPr>
          <p:cNvPr id="8" name="Text Placeholder 7"/>
          <p:cNvSpPr>
            <a:spLocks noGrp="1"/>
          </p:cNvSpPr>
          <p:nvPr>
            <p:ph type="body" sz="quarter" idx="14"/>
          </p:nvPr>
        </p:nvSpPr>
        <p:spPr bwMode="gray">
          <a:xfrm>
            <a:off x="164594" y="727556"/>
            <a:ext cx="8412854" cy="35929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title"/>
          </p:nvPr>
        </p:nvSpPr>
        <p:spPr bwMode="gray">
          <a:xfrm>
            <a:off x="164594" y="192025"/>
            <a:ext cx="8412854" cy="310896"/>
          </a:xfrm>
        </p:spPr>
        <p:txBody>
          <a:bodyPr/>
          <a:lstStyle/>
          <a:p>
            <a:r>
              <a:rPr lang="en-US"/>
              <a:t>Click to edit Master title style</a:t>
            </a:r>
          </a:p>
        </p:txBody>
      </p:sp>
    </p:spTree>
    <p:extLst>
      <p:ext uri="{BB962C8B-B14F-4D97-AF65-F5344CB8AC3E}">
        <p14:creationId xmlns:p14="http://schemas.microsoft.com/office/powerpoint/2010/main" val="37848316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long), Subtitle and Content (no bullets)">
    <p:bg bwMode="gray">
      <p:bgPr>
        <a:solidFill>
          <a:schemeClr val="bg1"/>
        </a:solidFill>
        <a:effectLst/>
      </p:bgPr>
    </p:bg>
    <p:spTree>
      <p:nvGrpSpPr>
        <p:cNvPr id="1" name=""/>
        <p:cNvGrpSpPr/>
        <p:nvPr/>
      </p:nvGrpSpPr>
      <p:grpSpPr>
        <a:xfrm>
          <a:off x="0" y="0"/>
          <a:ext cx="0" cy="0"/>
          <a:chOff x="0" y="0"/>
          <a:chExt cx="0" cy="0"/>
        </a:xfrm>
      </p:grpSpPr>
      <p:sp>
        <p:nvSpPr>
          <p:cNvPr id="13" name="Slide Number Placeholder 5"/>
          <p:cNvSpPr>
            <a:spLocks noGrp="1"/>
          </p:cNvSpPr>
          <p:nvPr>
            <p:ph type="sldNum" sz="quarter" idx="17"/>
          </p:nvPr>
        </p:nvSpPr>
        <p:spPr bwMode="gray"/>
        <p:txBody>
          <a:bodyPr/>
          <a:lstStyle/>
          <a:p>
            <a:fld id="{3AB2DB24-5BB4-4F1B-973E-A10FA63DFB9A}" type="slidenum">
              <a:rPr lang="en-US" smtClean="0"/>
              <a:pPr/>
              <a:t>‹#›</a:t>
            </a:fld>
            <a:endParaRPr lang="en-US"/>
          </a:p>
        </p:txBody>
      </p:sp>
      <p:sp>
        <p:nvSpPr>
          <p:cNvPr id="12" name="Footer Placeholder 4"/>
          <p:cNvSpPr>
            <a:spLocks noGrp="1"/>
          </p:cNvSpPr>
          <p:nvPr>
            <p:ph type="ftr" sz="quarter" idx="16"/>
          </p:nvPr>
        </p:nvSpPr>
        <p:spPr bwMode="gray"/>
        <p:txBody>
          <a:bodyPr/>
          <a:lstStyle/>
          <a:p>
            <a:endParaRPr lang="en-US"/>
          </a:p>
        </p:txBody>
      </p:sp>
      <p:sp>
        <p:nvSpPr>
          <p:cNvPr id="11" name="Date Placeholder 3"/>
          <p:cNvSpPr>
            <a:spLocks noGrp="1"/>
          </p:cNvSpPr>
          <p:nvPr>
            <p:ph type="dt" sz="half" idx="15"/>
          </p:nvPr>
        </p:nvSpPr>
        <p:spPr bwMode="gray"/>
        <p:txBody>
          <a:bodyPr/>
          <a:lstStyle/>
          <a:p>
            <a:r>
              <a:rPr lang="en-US"/>
              <a:t>February 15, 2024</a:t>
            </a:r>
          </a:p>
        </p:txBody>
      </p:sp>
      <p:sp>
        <p:nvSpPr>
          <p:cNvPr id="8" name="Text Placeholder 7"/>
          <p:cNvSpPr>
            <a:spLocks noGrp="1"/>
          </p:cNvSpPr>
          <p:nvPr>
            <p:ph type="body" sz="quarter" idx="14"/>
          </p:nvPr>
        </p:nvSpPr>
        <p:spPr bwMode="gray">
          <a:xfrm>
            <a:off x="3119438" y="727556"/>
            <a:ext cx="5458009" cy="3593789"/>
          </a:xfrm>
        </p:spPr>
        <p:txBody>
          <a:bodyPr/>
          <a:lstStyle>
            <a:lvl1pPr marL="0" indent="0">
              <a:buNone/>
              <a:defRPr/>
            </a:lvl1pPr>
            <a:lvl2pPr marL="147634" indent="0">
              <a:buNone/>
              <a:defRPr/>
            </a:lvl2pPr>
            <a:lvl3pPr marL="287330" indent="0">
              <a:buNone/>
              <a:defRPr/>
            </a:lvl3pPr>
            <a:lvl4pPr marL="434964" indent="0">
              <a:buNone/>
              <a:defRPr/>
            </a:lvl4pPr>
            <a:lvl5pPr marL="568311" indent="0">
              <a:buNone/>
              <a:defRPr/>
            </a:lvl5pPr>
          </a:lstStyle>
          <a:p>
            <a:pPr lvl="0"/>
            <a:r>
              <a:rPr lang="en-US"/>
              <a:t>Click to edit Master text styles</a:t>
            </a:r>
          </a:p>
        </p:txBody>
      </p:sp>
      <p:sp>
        <p:nvSpPr>
          <p:cNvPr id="22" name="Subtitle 2"/>
          <p:cNvSpPr>
            <a:spLocks noGrp="1"/>
          </p:cNvSpPr>
          <p:nvPr>
            <p:ph type="body" idx="13" hasCustomPrompt="1"/>
          </p:nvPr>
        </p:nvSpPr>
        <p:spPr bwMode="gray">
          <a:xfrm>
            <a:off x="164592" y="727556"/>
            <a:ext cx="2725896" cy="717196"/>
          </a:xfrm>
        </p:spPr>
        <p:txBody>
          <a:bodyPr rIns="0" anchor="t" anchorCtr="0"/>
          <a:lstStyle>
            <a:lvl1pPr marL="0" indent="0">
              <a:buNone/>
              <a:defRPr sz="1400" b="0">
                <a:latin typeface="Mark Offc For MC" panose="020B0504020101010102" pitchFamily="34" charset="0"/>
              </a:defRPr>
            </a:lvl1pPr>
            <a:lvl2pPr marL="342891" indent="0">
              <a:buNone/>
              <a:defRPr sz="1500" b="1"/>
            </a:lvl2pPr>
            <a:lvl3pPr marL="685783" indent="0">
              <a:buNone/>
              <a:defRPr sz="1351" b="1"/>
            </a:lvl3pPr>
            <a:lvl4pPr marL="1028674"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1" indent="0">
              <a:buNone/>
              <a:defRPr sz="1200" b="1"/>
            </a:lvl9pPr>
          </a:lstStyle>
          <a:p>
            <a:pPr lvl="0"/>
            <a:r>
              <a:rPr lang="en-US"/>
              <a:t>Click to add subtitle or secondary text</a:t>
            </a:r>
          </a:p>
        </p:txBody>
      </p:sp>
      <p:sp>
        <p:nvSpPr>
          <p:cNvPr id="7" name="Title 1"/>
          <p:cNvSpPr>
            <a:spLocks noGrp="1"/>
          </p:cNvSpPr>
          <p:nvPr>
            <p:ph type="title"/>
          </p:nvPr>
        </p:nvSpPr>
        <p:spPr bwMode="gray">
          <a:xfrm>
            <a:off x="164594" y="192025"/>
            <a:ext cx="8412854" cy="310896"/>
          </a:xfrm>
        </p:spPr>
        <p:txBody>
          <a:bodyPr/>
          <a:lstStyle/>
          <a:p>
            <a:r>
              <a:rPr lang="en-US"/>
              <a:t>Click to edit Master title style</a:t>
            </a:r>
          </a:p>
        </p:txBody>
      </p:sp>
    </p:spTree>
    <p:extLst>
      <p:ext uri="{BB962C8B-B14F-4D97-AF65-F5344CB8AC3E}">
        <p14:creationId xmlns:p14="http://schemas.microsoft.com/office/powerpoint/2010/main" val="36368679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Legal"/>
          <p:cNvSpPr/>
          <p:nvPr/>
        </p:nvSpPr>
        <p:spPr bwMode="gray">
          <a:xfrm>
            <a:off x="8980380" y="3130867"/>
            <a:ext cx="90964" cy="1481030"/>
          </a:xfrm>
          <a:prstGeom prst="rect">
            <a:avLst/>
          </a:prstGeom>
        </p:spPr>
        <p:txBody>
          <a:bodyPr vert="vert270" wrap="none" lIns="91440" tIns="45720" rIns="91440" bIns="45720" rtlCol="0" anchor="ctr"/>
          <a:lstStyle/>
          <a:p>
            <a:pPr lvl="0"/>
            <a:r>
              <a:rPr lang="en-US" sz="400" b="0" cap="none" baseline="0" noProof="0">
                <a:solidFill>
                  <a:srgbClr val="A2A2A2"/>
                </a:solidFill>
                <a:latin typeface="Mark Offc For MC" panose="020B0504020101010102" pitchFamily="34" charset="0"/>
              </a:rPr>
              <a:t>©2024 Mastercard. Proprietary and Confidential</a:t>
            </a:r>
            <a:endParaRPr lang="en-US" sz="400" b="0" cap="none" baseline="0">
              <a:solidFill>
                <a:srgbClr val="A2A2A2"/>
              </a:solidFill>
              <a:latin typeface="Mark Offc For MC" panose="020B0504020101010102" pitchFamily="34" charset="0"/>
            </a:endParaRPr>
          </a:p>
        </p:txBody>
      </p:sp>
      <p:sp>
        <p:nvSpPr>
          <p:cNvPr id="6" name="Slide Number Placeholder 5"/>
          <p:cNvSpPr>
            <a:spLocks noGrp="1"/>
          </p:cNvSpPr>
          <p:nvPr>
            <p:ph type="sldNum" sz="quarter" idx="4"/>
          </p:nvPr>
        </p:nvSpPr>
        <p:spPr bwMode="gray">
          <a:xfrm>
            <a:off x="157492" y="4810812"/>
            <a:ext cx="228598" cy="273844"/>
          </a:xfrm>
          <a:prstGeom prst="rect">
            <a:avLst/>
          </a:prstGeom>
        </p:spPr>
        <p:txBody>
          <a:bodyPr vert="horz" lIns="91440" tIns="45720" rIns="0" bIns="45720" rtlCol="0" anchor="ctr"/>
          <a:lstStyle>
            <a:lvl1pPr algn="l">
              <a:defRPr sz="600" b="1" cap="all" baseline="0">
                <a:solidFill>
                  <a:schemeClr val="tx1"/>
                </a:solidFill>
                <a:latin typeface="Mark Offc For MC" panose="020B0504020101010102" pitchFamily="34" charset="0"/>
              </a:defRPr>
            </a:lvl1pPr>
          </a:lstStyle>
          <a:p>
            <a:fld id="{3AB2DB24-5BB4-4F1B-973E-A10FA63DFB9A}" type="slidenum">
              <a:rPr lang="en-US" smtClean="0"/>
              <a:pPr/>
              <a:t>‹#›</a:t>
            </a:fld>
            <a:endParaRPr lang="en-US"/>
          </a:p>
        </p:txBody>
      </p:sp>
      <p:sp>
        <p:nvSpPr>
          <p:cNvPr id="5" name="Footer Placeholder 4"/>
          <p:cNvSpPr>
            <a:spLocks noGrp="1"/>
          </p:cNvSpPr>
          <p:nvPr>
            <p:ph type="ftr" sz="quarter" idx="3"/>
          </p:nvPr>
        </p:nvSpPr>
        <p:spPr bwMode="gray">
          <a:xfrm>
            <a:off x="440082" y="4810812"/>
            <a:ext cx="3319272" cy="273844"/>
          </a:xfrm>
          <a:prstGeom prst="rect">
            <a:avLst/>
          </a:prstGeom>
        </p:spPr>
        <p:txBody>
          <a:bodyPr vert="horz" lIns="91440" tIns="45720" rIns="0" bIns="45720" rtlCol="0" anchor="ctr" anchorCtr="0"/>
          <a:lstStyle>
            <a:lvl1pPr algn="l">
              <a:defRPr sz="600" b="1" cap="all" baseline="0">
                <a:solidFill>
                  <a:schemeClr val="tx1"/>
                </a:solidFill>
                <a:latin typeface="Mark Offc For MC" panose="020B0504020101010102" pitchFamily="34" charset="0"/>
              </a:defRPr>
            </a:lvl1pPr>
          </a:lstStyle>
          <a:p>
            <a:endParaRPr lang="en-US"/>
          </a:p>
        </p:txBody>
      </p:sp>
      <p:sp>
        <p:nvSpPr>
          <p:cNvPr id="4" name="Date Placeholder 3"/>
          <p:cNvSpPr>
            <a:spLocks noGrp="1"/>
          </p:cNvSpPr>
          <p:nvPr>
            <p:ph type="dt" sz="half" idx="2"/>
          </p:nvPr>
        </p:nvSpPr>
        <p:spPr bwMode="gray">
          <a:xfrm>
            <a:off x="6628632" y="4810812"/>
            <a:ext cx="1452909" cy="273844"/>
          </a:xfrm>
          <a:prstGeom prst="rect">
            <a:avLst/>
          </a:prstGeom>
        </p:spPr>
        <p:txBody>
          <a:bodyPr vert="horz" lIns="91440" tIns="45720" rIns="91440" bIns="45720" rtlCol="0" anchor="ctr"/>
          <a:lstStyle>
            <a:lvl1pPr algn="l">
              <a:defRPr sz="600" b="0" cap="all" baseline="0">
                <a:solidFill>
                  <a:schemeClr val="tx1"/>
                </a:solidFill>
                <a:latin typeface="Mark Offc For MC" panose="020B0504020101010102" pitchFamily="34" charset="0"/>
              </a:defRPr>
            </a:lvl1pPr>
          </a:lstStyle>
          <a:p>
            <a:r>
              <a:rPr lang="en-US"/>
              <a:t>February 15, 2024</a:t>
            </a:r>
          </a:p>
        </p:txBody>
      </p:sp>
      <p:sp>
        <p:nvSpPr>
          <p:cNvPr id="3" name="Text Placeholder 2"/>
          <p:cNvSpPr>
            <a:spLocks noGrp="1"/>
          </p:cNvSpPr>
          <p:nvPr>
            <p:ph type="body" idx="1"/>
          </p:nvPr>
        </p:nvSpPr>
        <p:spPr bwMode="gray">
          <a:xfrm>
            <a:off x="3119090" y="192024"/>
            <a:ext cx="5458358" cy="4125806"/>
          </a:xfrm>
          <a:prstGeom prst="rect">
            <a:avLst/>
          </a:prstGeom>
        </p:spPr>
        <p:txBody>
          <a:bodyPr vert="horz" lIns="9144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bwMode="gray">
          <a:xfrm>
            <a:off x="164593" y="192025"/>
            <a:ext cx="2725897" cy="535531"/>
          </a:xfrm>
          <a:prstGeom prst="rect">
            <a:avLst/>
          </a:prstGeom>
        </p:spPr>
        <p:txBody>
          <a:bodyPr vert="horz" wrap="square" lIns="91440" tIns="45720" rIns="91440" bIns="45720" rtlCol="0" anchor="t" anchorCtr="0">
            <a:spAutoFit/>
          </a:bodyPr>
          <a:lstStyle/>
          <a:p>
            <a:r>
              <a:rPr lang="en-US"/>
              <a:t>Click to edit Master title style</a:t>
            </a:r>
          </a:p>
        </p:txBody>
      </p:sp>
      <p:grpSp>
        <p:nvGrpSpPr>
          <p:cNvPr id="24" name="Graphic 9">
            <a:extLst>
              <a:ext uri="{FF2B5EF4-FFF2-40B4-BE49-F238E27FC236}">
                <a16:creationId xmlns:a16="http://schemas.microsoft.com/office/drawing/2014/main" id="{365FFD04-32CD-42E8-AB33-F3E93FC9D37D}"/>
              </a:ext>
            </a:extLst>
          </p:cNvPr>
          <p:cNvGrpSpPr>
            <a:grpSpLocks noChangeAspect="1"/>
          </p:cNvGrpSpPr>
          <p:nvPr/>
        </p:nvGrpSpPr>
        <p:grpSpPr bwMode="gray">
          <a:xfrm>
            <a:off x="8401987" y="4695711"/>
            <a:ext cx="482352" cy="300342"/>
            <a:chOff x="248864" y="1309239"/>
            <a:chExt cx="1116830" cy="695406"/>
          </a:xfrm>
        </p:grpSpPr>
        <p:sp>
          <p:nvSpPr>
            <p:cNvPr id="25" name="Freeform: Shape 24">
              <a:extLst>
                <a:ext uri="{FF2B5EF4-FFF2-40B4-BE49-F238E27FC236}">
                  <a16:creationId xmlns:a16="http://schemas.microsoft.com/office/drawing/2014/main" id="{8C3C96D2-0175-49F5-84A9-989686AF4BEC}"/>
                </a:ext>
              </a:extLst>
            </p:cNvPr>
            <p:cNvSpPr/>
            <p:nvPr/>
          </p:nvSpPr>
          <p:spPr bwMode="gray">
            <a:xfrm>
              <a:off x="653702" y="1382595"/>
              <a:ext cx="314326" cy="552451"/>
            </a:xfrm>
            <a:custGeom>
              <a:avLst/>
              <a:gdLst>
                <a:gd name="connsiteX0" fmla="*/ 7144 w 314325"/>
                <a:gd name="connsiteY0" fmla="*/ 7144 h 552450"/>
                <a:gd name="connsiteX1" fmla="*/ 307181 w 314325"/>
                <a:gd name="connsiteY1" fmla="*/ 7144 h 552450"/>
                <a:gd name="connsiteX2" fmla="*/ 307181 w 314325"/>
                <a:gd name="connsiteY2" fmla="*/ 546354 h 552450"/>
                <a:gd name="connsiteX3" fmla="*/ 7144 w 314325"/>
                <a:gd name="connsiteY3" fmla="*/ 546354 h 552450"/>
              </a:gdLst>
              <a:ahLst/>
              <a:cxnLst>
                <a:cxn ang="0">
                  <a:pos x="connsiteX0" y="connsiteY0"/>
                </a:cxn>
                <a:cxn ang="0">
                  <a:pos x="connsiteX1" y="connsiteY1"/>
                </a:cxn>
                <a:cxn ang="0">
                  <a:pos x="connsiteX2" y="connsiteY2"/>
                </a:cxn>
                <a:cxn ang="0">
                  <a:pos x="connsiteX3" y="connsiteY3"/>
                </a:cxn>
              </a:cxnLst>
              <a:rect l="l" t="t" r="r" b="b"/>
              <a:pathLst>
                <a:path w="314325" h="552450">
                  <a:moveTo>
                    <a:pt x="7144" y="7144"/>
                  </a:moveTo>
                  <a:lnTo>
                    <a:pt x="307181" y="7144"/>
                  </a:lnTo>
                  <a:lnTo>
                    <a:pt x="307181" y="546354"/>
                  </a:lnTo>
                  <a:lnTo>
                    <a:pt x="7144" y="546354"/>
                  </a:lnTo>
                  <a:close/>
                </a:path>
              </a:pathLst>
            </a:custGeom>
            <a:solidFill>
              <a:srgbClr val="FF5F00"/>
            </a:solidFill>
            <a:ln w="9525" cap="flat">
              <a:noFill/>
              <a:prstDash val="solid"/>
              <a:miter/>
            </a:ln>
          </p:spPr>
          <p:txBody>
            <a:bodyPr rtlCol="0" anchor="ctr"/>
            <a:lstStyle/>
            <a:p>
              <a:pPr lvl="0"/>
              <a:endParaRPr lang="en-US"/>
            </a:p>
          </p:txBody>
        </p:sp>
        <p:sp>
          <p:nvSpPr>
            <p:cNvPr id="26" name="Freeform: Shape 25">
              <a:extLst>
                <a:ext uri="{FF2B5EF4-FFF2-40B4-BE49-F238E27FC236}">
                  <a16:creationId xmlns:a16="http://schemas.microsoft.com/office/drawing/2014/main" id="{F8575159-1EA0-47EC-A342-C29256969DF2}"/>
                </a:ext>
              </a:extLst>
            </p:cNvPr>
            <p:cNvSpPr/>
            <p:nvPr/>
          </p:nvSpPr>
          <p:spPr bwMode="gray">
            <a:xfrm>
              <a:off x="248864" y="1309239"/>
              <a:ext cx="561975" cy="695324"/>
            </a:xfrm>
            <a:custGeom>
              <a:avLst/>
              <a:gdLst>
                <a:gd name="connsiteX0" fmla="*/ 431031 w 561975"/>
                <a:gd name="connsiteY0" fmla="*/ 350058 h 695325"/>
                <a:gd name="connsiteX1" fmla="*/ 562000 w 561975"/>
                <a:gd name="connsiteY1" fmla="*/ 80501 h 695325"/>
                <a:gd name="connsiteX2" fmla="*/ 80501 w 561975"/>
                <a:gd name="connsiteY2" fmla="*/ 138117 h 695325"/>
                <a:gd name="connsiteX3" fmla="*/ 138117 w 561975"/>
                <a:gd name="connsiteY3" fmla="*/ 619616 h 695325"/>
                <a:gd name="connsiteX4" fmla="*/ 562000 w 561975"/>
                <a:gd name="connsiteY4" fmla="*/ 619616 h 695325"/>
                <a:gd name="connsiteX5" fmla="*/ 431031 w 561975"/>
                <a:gd name="connsiteY5" fmla="*/ 35005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975" h="695325">
                  <a:moveTo>
                    <a:pt x="431031" y="350058"/>
                  </a:moveTo>
                  <a:cubicBezTo>
                    <a:pt x="430905" y="244845"/>
                    <a:pt x="479209" y="145428"/>
                    <a:pt x="562000" y="80501"/>
                  </a:cubicBezTo>
                  <a:cubicBezTo>
                    <a:pt x="413127" y="-36551"/>
                    <a:pt x="197553" y="-10756"/>
                    <a:pt x="80501" y="138117"/>
                  </a:cubicBezTo>
                  <a:cubicBezTo>
                    <a:pt x="-36551" y="286989"/>
                    <a:pt x="-10756" y="502564"/>
                    <a:pt x="138117" y="619616"/>
                  </a:cubicBezTo>
                  <a:cubicBezTo>
                    <a:pt x="262491" y="717406"/>
                    <a:pt x="437626" y="717406"/>
                    <a:pt x="562000" y="619616"/>
                  </a:cubicBezTo>
                  <a:cubicBezTo>
                    <a:pt x="479209" y="554688"/>
                    <a:pt x="430905" y="455272"/>
                    <a:pt x="431031" y="350058"/>
                  </a:cubicBezTo>
                  <a:close/>
                </a:path>
              </a:pathLst>
            </a:custGeom>
            <a:solidFill>
              <a:srgbClr val="EB001B"/>
            </a:solidFill>
            <a:ln w="9525" cap="flat">
              <a:noFill/>
              <a:prstDash val="solid"/>
              <a:miter/>
            </a:ln>
          </p:spPr>
          <p:txBody>
            <a:bodyPr rtlCol="0" anchor="ctr"/>
            <a:lstStyle/>
            <a:p>
              <a:pPr lvl="0"/>
              <a:endParaRPr lang="en-US"/>
            </a:p>
          </p:txBody>
        </p:sp>
        <p:sp>
          <p:nvSpPr>
            <p:cNvPr id="27" name="Freeform: Shape 26">
              <a:extLst>
                <a:ext uri="{FF2B5EF4-FFF2-40B4-BE49-F238E27FC236}">
                  <a16:creationId xmlns:a16="http://schemas.microsoft.com/office/drawing/2014/main" id="{F5BB922E-38FB-4554-912E-59A49A219300}"/>
                </a:ext>
              </a:extLst>
            </p:cNvPr>
            <p:cNvSpPr/>
            <p:nvPr/>
          </p:nvSpPr>
          <p:spPr bwMode="gray">
            <a:xfrm>
              <a:off x="803719" y="1309321"/>
              <a:ext cx="561975" cy="695324"/>
            </a:xfrm>
            <a:custGeom>
              <a:avLst/>
              <a:gdLst>
                <a:gd name="connsiteX0" fmla="*/ 561880 w 561975"/>
                <a:gd name="connsiteY0" fmla="*/ 349975 h 695325"/>
                <a:gd name="connsiteX1" fmla="*/ 218897 w 561975"/>
                <a:gd name="connsiteY1" fmla="*/ 692793 h 695325"/>
                <a:gd name="connsiteX2" fmla="*/ 7144 w 561975"/>
                <a:gd name="connsiteY2" fmla="*/ 619533 h 695325"/>
                <a:gd name="connsiteX3" fmla="*/ 64760 w 561975"/>
                <a:gd name="connsiteY3" fmla="*/ 138034 h 695325"/>
                <a:gd name="connsiteX4" fmla="*/ 7144 w 561975"/>
                <a:gd name="connsiteY4" fmla="*/ 80418 h 695325"/>
                <a:gd name="connsiteX5" fmla="*/ 488620 w 561975"/>
                <a:gd name="connsiteY5" fmla="*/ 138222 h 695325"/>
                <a:gd name="connsiteX6" fmla="*/ 561880 w 561975"/>
                <a:gd name="connsiteY6" fmla="*/ 349975 h 695325"/>
                <a:gd name="connsiteX7" fmla="*/ 529209 w 561975"/>
                <a:gd name="connsiteY7" fmla="*/ 562478 h 695325"/>
                <a:gd name="connsiteX8" fmla="*/ 529209 w 561975"/>
                <a:gd name="connsiteY8" fmla="*/ 551429 h 695325"/>
                <a:gd name="connsiteX9" fmla="*/ 533686 w 561975"/>
                <a:gd name="connsiteY9" fmla="*/ 551429 h 695325"/>
                <a:gd name="connsiteX10" fmla="*/ 533686 w 561975"/>
                <a:gd name="connsiteY10" fmla="*/ 549143 h 695325"/>
                <a:gd name="connsiteX11" fmla="*/ 522446 w 561975"/>
                <a:gd name="connsiteY11" fmla="*/ 549143 h 695325"/>
                <a:gd name="connsiteX12" fmla="*/ 522446 w 561975"/>
                <a:gd name="connsiteY12" fmla="*/ 551429 h 695325"/>
                <a:gd name="connsiteX13" fmla="*/ 526828 w 561975"/>
                <a:gd name="connsiteY13" fmla="*/ 551429 h 695325"/>
                <a:gd name="connsiteX14" fmla="*/ 526828 w 561975"/>
                <a:gd name="connsiteY14" fmla="*/ 562478 h 695325"/>
                <a:gd name="connsiteX15" fmla="*/ 551212 w 561975"/>
                <a:gd name="connsiteY15" fmla="*/ 562478 h 695325"/>
                <a:gd name="connsiteX16" fmla="*/ 551212 w 561975"/>
                <a:gd name="connsiteY16" fmla="*/ 549143 h 695325"/>
                <a:gd name="connsiteX17" fmla="*/ 547687 w 561975"/>
                <a:gd name="connsiteY17" fmla="*/ 549143 h 695325"/>
                <a:gd name="connsiteX18" fmla="*/ 543687 w 561975"/>
                <a:gd name="connsiteY18" fmla="*/ 558668 h 695325"/>
                <a:gd name="connsiteX19" fmla="*/ 539686 w 561975"/>
                <a:gd name="connsiteY19" fmla="*/ 549143 h 695325"/>
                <a:gd name="connsiteX20" fmla="*/ 536258 w 561975"/>
                <a:gd name="connsiteY20" fmla="*/ 549143 h 695325"/>
                <a:gd name="connsiteX21" fmla="*/ 536258 w 561975"/>
                <a:gd name="connsiteY21" fmla="*/ 562478 h 695325"/>
                <a:gd name="connsiteX22" fmla="*/ 538734 w 561975"/>
                <a:gd name="connsiteY22" fmla="*/ 562478 h 695325"/>
                <a:gd name="connsiteX23" fmla="*/ 538734 w 561975"/>
                <a:gd name="connsiteY23" fmla="*/ 552382 h 695325"/>
                <a:gd name="connsiteX24" fmla="*/ 542449 w 561975"/>
                <a:gd name="connsiteY24" fmla="*/ 561049 h 695325"/>
                <a:gd name="connsiteX25" fmla="*/ 545020 w 561975"/>
                <a:gd name="connsiteY25" fmla="*/ 561049 h 695325"/>
                <a:gd name="connsiteX26" fmla="*/ 548735 w 561975"/>
                <a:gd name="connsiteY26" fmla="*/ 552382 h 695325"/>
                <a:gd name="connsiteX27" fmla="*/ 548735 w 561975"/>
                <a:gd name="connsiteY27" fmla="*/ 562478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61975" h="695325">
                  <a:moveTo>
                    <a:pt x="561880" y="349975"/>
                  </a:moveTo>
                  <a:cubicBezTo>
                    <a:pt x="561834" y="539354"/>
                    <a:pt x="408276" y="692838"/>
                    <a:pt x="218897" y="692793"/>
                  </a:cubicBezTo>
                  <a:cubicBezTo>
                    <a:pt x="142100" y="692774"/>
                    <a:pt x="67533" y="666976"/>
                    <a:pt x="7144" y="619533"/>
                  </a:cubicBezTo>
                  <a:cubicBezTo>
                    <a:pt x="156016" y="502481"/>
                    <a:pt x="181812" y="286906"/>
                    <a:pt x="64760" y="138034"/>
                  </a:cubicBezTo>
                  <a:cubicBezTo>
                    <a:pt x="47913" y="116607"/>
                    <a:pt x="28571" y="97265"/>
                    <a:pt x="7144" y="80418"/>
                  </a:cubicBezTo>
                  <a:cubicBezTo>
                    <a:pt x="156062" y="-36576"/>
                    <a:pt x="371626" y="-10696"/>
                    <a:pt x="488620" y="138222"/>
                  </a:cubicBezTo>
                  <a:cubicBezTo>
                    <a:pt x="536063" y="198612"/>
                    <a:pt x="561861" y="273179"/>
                    <a:pt x="561880" y="349975"/>
                  </a:cubicBezTo>
                  <a:close/>
                  <a:moveTo>
                    <a:pt x="529209" y="562478"/>
                  </a:moveTo>
                  <a:lnTo>
                    <a:pt x="529209" y="551429"/>
                  </a:lnTo>
                  <a:lnTo>
                    <a:pt x="533686" y="551429"/>
                  </a:lnTo>
                  <a:lnTo>
                    <a:pt x="533686" y="549143"/>
                  </a:lnTo>
                  <a:lnTo>
                    <a:pt x="522446" y="549143"/>
                  </a:lnTo>
                  <a:lnTo>
                    <a:pt x="522446" y="551429"/>
                  </a:lnTo>
                  <a:lnTo>
                    <a:pt x="526828" y="551429"/>
                  </a:lnTo>
                  <a:lnTo>
                    <a:pt x="526828" y="562478"/>
                  </a:lnTo>
                  <a:close/>
                  <a:moveTo>
                    <a:pt x="551212" y="562478"/>
                  </a:moveTo>
                  <a:lnTo>
                    <a:pt x="551212" y="549143"/>
                  </a:lnTo>
                  <a:lnTo>
                    <a:pt x="547687" y="549143"/>
                  </a:lnTo>
                  <a:lnTo>
                    <a:pt x="543687" y="558668"/>
                  </a:lnTo>
                  <a:lnTo>
                    <a:pt x="539686" y="549143"/>
                  </a:lnTo>
                  <a:lnTo>
                    <a:pt x="536258" y="549143"/>
                  </a:lnTo>
                  <a:lnTo>
                    <a:pt x="536258" y="562478"/>
                  </a:lnTo>
                  <a:lnTo>
                    <a:pt x="538734" y="562478"/>
                  </a:lnTo>
                  <a:lnTo>
                    <a:pt x="538734" y="552382"/>
                  </a:lnTo>
                  <a:lnTo>
                    <a:pt x="542449" y="561049"/>
                  </a:lnTo>
                  <a:lnTo>
                    <a:pt x="545020" y="561049"/>
                  </a:lnTo>
                  <a:lnTo>
                    <a:pt x="548735" y="552382"/>
                  </a:lnTo>
                  <a:lnTo>
                    <a:pt x="548735" y="562478"/>
                  </a:lnTo>
                  <a:close/>
                </a:path>
              </a:pathLst>
            </a:custGeom>
            <a:solidFill>
              <a:srgbClr val="F79E1B"/>
            </a:solid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2338630973"/>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53" r:id="rId28"/>
    <p:sldLayoutId id="2147483855" r:id="rId29"/>
  </p:sldLayoutIdLst>
  <p:hf hdr="0"/>
  <p:txStyles>
    <p:titleStyle>
      <a:lvl1pPr algn="l" defTabSz="685783" rtl="0" eaLnBrk="1" latinLnBrk="0" hangingPunct="1">
        <a:lnSpc>
          <a:spcPct val="90000"/>
        </a:lnSpc>
        <a:spcBef>
          <a:spcPct val="0"/>
        </a:spcBef>
        <a:buNone/>
        <a:defRPr sz="1600" b="0" kern="1200">
          <a:solidFill>
            <a:schemeClr val="tx1"/>
          </a:solidFill>
          <a:latin typeface="Mark Offc For MC Medium" panose="020B0604020101010102" pitchFamily="34" charset="0"/>
          <a:ea typeface="+mj-ea"/>
          <a:cs typeface="+mj-cs"/>
        </a:defRPr>
      </a:lvl1pPr>
    </p:titleStyle>
    <p:bodyStyle>
      <a:lvl1pPr marL="115885" indent="-115885" algn="l" defTabSz="685783" rtl="0" eaLnBrk="1" latinLnBrk="0" hangingPunct="1">
        <a:lnSpc>
          <a:spcPct val="90000"/>
        </a:lnSpc>
        <a:spcBef>
          <a:spcPts val="1200"/>
        </a:spcBef>
        <a:buFont typeface="Mark Offc For MC" panose="020B0504020101010102" pitchFamily="34" charset="0"/>
        <a:buChar char="•"/>
        <a:defRPr sz="1600" kern="1200">
          <a:solidFill>
            <a:schemeClr val="tx1"/>
          </a:solidFill>
          <a:latin typeface="+mn-lt"/>
          <a:ea typeface="+mn-ea"/>
          <a:cs typeface="+mn-cs"/>
        </a:defRPr>
      </a:lvl1pPr>
      <a:lvl2pPr marL="287331" indent="-139697" algn="l" defTabSz="685783" rtl="0" eaLnBrk="1" latinLnBrk="0" hangingPunct="1">
        <a:lnSpc>
          <a:spcPct val="90000"/>
        </a:lnSpc>
        <a:spcBef>
          <a:spcPts val="200"/>
        </a:spcBef>
        <a:buFont typeface="Mark Offc For MC" panose="020B0504020101010102" pitchFamily="34" charset="0"/>
        <a:buChar char="–"/>
        <a:defRPr sz="1400" kern="1200">
          <a:solidFill>
            <a:schemeClr val="tx1"/>
          </a:solidFill>
          <a:latin typeface="+mn-lt"/>
          <a:ea typeface="+mn-ea"/>
          <a:cs typeface="+mn-cs"/>
        </a:defRPr>
      </a:lvl2pPr>
      <a:lvl3pPr marL="403215" indent="-115885"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3pPr>
      <a:lvl4pPr marL="568311" indent="-133347" algn="l" defTabSz="685783" rtl="0" eaLnBrk="1" latinLnBrk="0" hangingPunct="1">
        <a:lnSpc>
          <a:spcPct val="90000"/>
        </a:lnSpc>
        <a:spcBef>
          <a:spcPts val="300"/>
        </a:spcBef>
        <a:buFont typeface="Mark Offc For MC" panose="020B0504020101010102" pitchFamily="34" charset="0"/>
        <a:buChar char="–"/>
        <a:defRPr sz="1100" kern="1200">
          <a:solidFill>
            <a:schemeClr val="tx1"/>
          </a:solidFill>
          <a:latin typeface="+mn-lt"/>
          <a:ea typeface="+mn-ea"/>
          <a:cs typeface="+mn-cs"/>
        </a:defRPr>
      </a:lvl4pPr>
      <a:lvl5pPr marL="684196" indent="-115885" algn="l" defTabSz="685783" rtl="0" eaLnBrk="1" latinLnBrk="0" hangingPunct="1">
        <a:lnSpc>
          <a:spcPct val="90000"/>
        </a:lnSpc>
        <a:spcBef>
          <a:spcPts val="300"/>
        </a:spcBef>
        <a:buFont typeface="Mark Offc For MC" panose="020B0504020101010102" pitchFamily="34" charset="0"/>
        <a:buChar char="•"/>
        <a:defRPr sz="10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Mark Offc For MC"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1620">
          <p15:clr>
            <a:srgbClr val="F26B43"/>
          </p15:clr>
        </p15:guide>
        <p15:guide id="8" pos="2880">
          <p15:clr>
            <a:srgbClr val="F26B43"/>
          </p15:clr>
        </p15:guide>
        <p15:guide id="9" pos="1919">
          <p15:clr>
            <a:srgbClr val="F26B43"/>
          </p15:clr>
        </p15:guide>
        <p15:guide id="10" pos="3843">
          <p15:clr>
            <a:srgbClr val="F26B43"/>
          </p15:clr>
        </p15:guide>
        <p15:guide id="11" orient="horz" pos="2903">
          <p15:clr>
            <a:srgbClr val="F26B43"/>
          </p15:clr>
        </p15:guide>
        <p15:guide id="12" orient="horz" pos="309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800677B3-3393-95FE-54D9-48D974800105}"/>
              </a:ext>
            </a:extLst>
          </p:cNvPr>
          <p:cNvSpPr>
            <a:spLocks noGrp="1"/>
          </p:cNvSpPr>
          <p:nvPr>
            <p:ph type="dt" sz="half" idx="6"/>
          </p:nvPr>
        </p:nvSpPr>
        <p:spPr/>
        <p:txBody>
          <a:bodyPr/>
          <a:lstStyle/>
          <a:p>
            <a:fld id="{CDF58F05-AA34-4AF4-B921-A3D00B6FC65F}" type="datetime1">
              <a:rPr lang="en-US" smtClean="0"/>
              <a:t>5/21/2024</a:t>
            </a:fld>
            <a:endParaRPr lang="en-US"/>
          </a:p>
        </p:txBody>
      </p:sp>
      <p:sp>
        <p:nvSpPr>
          <p:cNvPr id="6" name="Slide Number Placeholder 5">
            <a:extLst>
              <a:ext uri="{FF2B5EF4-FFF2-40B4-BE49-F238E27FC236}">
                <a16:creationId xmlns:a16="http://schemas.microsoft.com/office/drawing/2014/main" id="{34C62F4B-7025-8E43-453C-84BE5B17CFBA}"/>
              </a:ext>
            </a:extLst>
          </p:cNvPr>
          <p:cNvSpPr>
            <a:spLocks noGrp="1"/>
          </p:cNvSpPr>
          <p:nvPr>
            <p:ph type="sldNum" sz="quarter" idx="7"/>
          </p:nvPr>
        </p:nvSpPr>
        <p:spPr/>
        <p:txBody>
          <a:bodyPr/>
          <a:lstStyle/>
          <a:p>
            <a:fld id="{B6F15528-21DE-4FAA-801E-634DDDAF4B2B}" type="slidenum">
              <a:rPr lang="en-GB" smtClean="0"/>
              <a:t>1</a:t>
            </a:fld>
            <a:endParaRPr lang="en-GB"/>
          </a:p>
        </p:txBody>
      </p:sp>
      <p:pic>
        <p:nvPicPr>
          <p:cNvPr id="8" name="Picture 7">
            <a:extLst>
              <a:ext uri="{FF2B5EF4-FFF2-40B4-BE49-F238E27FC236}">
                <a16:creationId xmlns:a16="http://schemas.microsoft.com/office/drawing/2014/main" id="{9F0B126A-AE4D-4CF1-A0F5-7574152540CF}"/>
              </a:ext>
            </a:extLst>
          </p:cNvPr>
          <p:cNvPicPr>
            <a:picLocks noChangeAspect="1"/>
          </p:cNvPicPr>
          <p:nvPr/>
        </p:nvPicPr>
        <p:blipFill rotWithShape="1">
          <a:blip r:embed="rId2"/>
          <a:srcRect l="54688"/>
          <a:stretch/>
        </p:blipFill>
        <p:spPr>
          <a:xfrm>
            <a:off x="5000625" y="0"/>
            <a:ext cx="4174991" cy="5143500"/>
          </a:xfrm>
          <a:prstGeom prst="rect">
            <a:avLst/>
          </a:prstGeom>
        </p:spPr>
      </p:pic>
      <p:sp>
        <p:nvSpPr>
          <p:cNvPr id="2" name="object 8">
            <a:extLst>
              <a:ext uri="{FF2B5EF4-FFF2-40B4-BE49-F238E27FC236}">
                <a16:creationId xmlns:a16="http://schemas.microsoft.com/office/drawing/2014/main" id="{6EA91A27-0D23-E105-363F-224868ECB045}"/>
              </a:ext>
            </a:extLst>
          </p:cNvPr>
          <p:cNvSpPr txBox="1"/>
          <p:nvPr/>
        </p:nvSpPr>
        <p:spPr>
          <a:xfrm>
            <a:off x="236016" y="236347"/>
            <a:ext cx="2696845" cy="119905"/>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lang="en-US" sz="700" kern="0">
                <a:solidFill>
                  <a:srgbClr val="FF671B"/>
                </a:solidFill>
                <a:latin typeface="Mark Offc For MC Medium"/>
                <a:cs typeface="Mark Offc For MC Medium"/>
              </a:rPr>
              <a:t>CASE STUDY: CITY GOVERNMENT</a:t>
            </a:r>
            <a:endParaRPr kumimoji="0" sz="700" b="0" i="0" u="none" strike="noStrike" kern="0" cap="none" spc="0" normalizeH="0" baseline="0" noProof="0">
              <a:ln>
                <a:noFill/>
              </a:ln>
              <a:solidFill>
                <a:sysClr val="windowText" lastClr="000000"/>
              </a:solidFill>
              <a:effectLst/>
              <a:uLnTx/>
              <a:uFillTx/>
              <a:latin typeface="Mark Offc For MC Medium"/>
              <a:cs typeface="Mark Offc For MC Medium"/>
            </a:endParaRPr>
          </a:p>
        </p:txBody>
      </p:sp>
      <p:sp>
        <p:nvSpPr>
          <p:cNvPr id="3" name="TextBox 2">
            <a:extLst>
              <a:ext uri="{FF2B5EF4-FFF2-40B4-BE49-F238E27FC236}">
                <a16:creationId xmlns:a16="http://schemas.microsoft.com/office/drawing/2014/main" id="{89A7E563-AAC4-A14B-345D-728505409AAC}"/>
              </a:ext>
            </a:extLst>
          </p:cNvPr>
          <p:cNvSpPr txBox="1"/>
          <p:nvPr/>
        </p:nvSpPr>
        <p:spPr bwMode="gray">
          <a:xfrm>
            <a:off x="271791" y="528638"/>
            <a:ext cx="4043034" cy="674031"/>
          </a:xfrm>
          <a:prstGeom prst="rect">
            <a:avLst/>
          </a:prstGeom>
          <a:noFill/>
        </p:spPr>
        <p:txBody>
          <a:bodyPr wrap="square" rtlCol="0">
            <a:spAutoFit/>
          </a:bodyPr>
          <a:lstStyle/>
          <a:p>
            <a:pPr>
              <a:lnSpc>
                <a:spcPct val="90000"/>
              </a:lnSpc>
              <a:spcBef>
                <a:spcPts val="600"/>
              </a:spcBef>
            </a:pPr>
            <a:r>
              <a:rPr lang="en-US" sz="1400"/>
              <a:t>Impact Evaluator measured the impact of pedestrianizing city streets to grow the local economy</a:t>
            </a:r>
          </a:p>
        </p:txBody>
      </p:sp>
      <p:sp>
        <p:nvSpPr>
          <p:cNvPr id="7" name="TextBox 6">
            <a:extLst>
              <a:ext uri="{FF2B5EF4-FFF2-40B4-BE49-F238E27FC236}">
                <a16:creationId xmlns:a16="http://schemas.microsoft.com/office/drawing/2014/main" id="{2B2814D1-19C7-F905-3732-2AFB6ED1015B}"/>
              </a:ext>
            </a:extLst>
          </p:cNvPr>
          <p:cNvSpPr txBox="1"/>
          <p:nvPr/>
        </p:nvSpPr>
        <p:spPr bwMode="gray">
          <a:xfrm>
            <a:off x="236016" y="1410092"/>
            <a:ext cx="4043034" cy="1000274"/>
          </a:xfrm>
          <a:prstGeom prst="rect">
            <a:avLst/>
          </a:prstGeom>
          <a:noFill/>
        </p:spPr>
        <p:txBody>
          <a:bodyPr wrap="square" rtlCol="0">
            <a:spAutoFit/>
          </a:bodyPr>
          <a:lstStyle/>
          <a:p>
            <a:pPr>
              <a:lnSpc>
                <a:spcPct val="90000"/>
              </a:lnSpc>
              <a:spcBef>
                <a:spcPts val="600"/>
              </a:spcBef>
            </a:pPr>
            <a:r>
              <a:rPr lang="en-US" sz="1200" b="1"/>
              <a:t>Context and Challenge</a:t>
            </a:r>
          </a:p>
          <a:p>
            <a:pPr>
              <a:lnSpc>
                <a:spcPct val="90000"/>
              </a:lnSpc>
              <a:spcBef>
                <a:spcPts val="600"/>
              </a:spcBef>
            </a:pPr>
            <a:r>
              <a:rPr lang="en-US" sz="1200"/>
              <a:t>A large city government closed a number of streets to cars (“pedestrianized”) in the hope of promoting the local economy. However, they lacked the data and tools to know if there was a measurable impact.</a:t>
            </a:r>
          </a:p>
        </p:txBody>
      </p:sp>
      <p:sp>
        <p:nvSpPr>
          <p:cNvPr id="9" name="TextBox 8">
            <a:extLst>
              <a:ext uri="{FF2B5EF4-FFF2-40B4-BE49-F238E27FC236}">
                <a16:creationId xmlns:a16="http://schemas.microsoft.com/office/drawing/2014/main" id="{3D04D238-ADCA-DDD5-A983-0FFF91B42E28}"/>
              </a:ext>
            </a:extLst>
          </p:cNvPr>
          <p:cNvSpPr txBox="1"/>
          <p:nvPr/>
        </p:nvSpPr>
        <p:spPr bwMode="gray">
          <a:xfrm>
            <a:off x="236016" y="2423889"/>
            <a:ext cx="4043034" cy="1000274"/>
          </a:xfrm>
          <a:prstGeom prst="rect">
            <a:avLst/>
          </a:prstGeom>
          <a:noFill/>
        </p:spPr>
        <p:txBody>
          <a:bodyPr wrap="square" rtlCol="0">
            <a:spAutoFit/>
          </a:bodyPr>
          <a:lstStyle/>
          <a:p>
            <a:pPr>
              <a:lnSpc>
                <a:spcPct val="90000"/>
              </a:lnSpc>
              <a:spcBef>
                <a:spcPts val="600"/>
              </a:spcBef>
            </a:pPr>
            <a:r>
              <a:rPr lang="en-US" sz="1200" b="1"/>
              <a:t>Approach</a:t>
            </a:r>
          </a:p>
          <a:p>
            <a:pPr>
              <a:lnSpc>
                <a:spcPct val="90000"/>
              </a:lnSpc>
              <a:spcBef>
                <a:spcPts val="600"/>
              </a:spcBef>
            </a:pPr>
            <a:r>
              <a:rPr lang="en-US" sz="1200"/>
              <a:t>The Impact Evaluator team leveraged Mastercard spending data to conduct a baseline analysis of spending in the region, before using Test &amp; Learn® to measure the initiative impact.</a:t>
            </a:r>
          </a:p>
        </p:txBody>
      </p:sp>
      <p:sp>
        <p:nvSpPr>
          <p:cNvPr id="10" name="TextBox 9">
            <a:extLst>
              <a:ext uri="{FF2B5EF4-FFF2-40B4-BE49-F238E27FC236}">
                <a16:creationId xmlns:a16="http://schemas.microsoft.com/office/drawing/2014/main" id="{5E3F9F26-1AB9-0FEE-4B6C-AEFC54302331}"/>
              </a:ext>
            </a:extLst>
          </p:cNvPr>
          <p:cNvSpPr txBox="1"/>
          <p:nvPr/>
        </p:nvSpPr>
        <p:spPr bwMode="gray">
          <a:xfrm>
            <a:off x="236016" y="3437686"/>
            <a:ext cx="4043034" cy="1332673"/>
          </a:xfrm>
          <a:prstGeom prst="rect">
            <a:avLst/>
          </a:prstGeom>
          <a:noFill/>
        </p:spPr>
        <p:txBody>
          <a:bodyPr wrap="square" lIns="91440" tIns="45720" rIns="91440" bIns="45720" rtlCol="0" anchor="t">
            <a:spAutoFit/>
          </a:bodyPr>
          <a:lstStyle/>
          <a:p>
            <a:pPr>
              <a:lnSpc>
                <a:spcPct val="90000"/>
              </a:lnSpc>
              <a:spcBef>
                <a:spcPts val="600"/>
              </a:spcBef>
            </a:pPr>
            <a:r>
              <a:rPr lang="en-US" sz="1200" b="1"/>
              <a:t>Results</a:t>
            </a:r>
          </a:p>
          <a:p>
            <a:pPr>
              <a:lnSpc>
                <a:spcPct val="90000"/>
              </a:lnSpc>
              <a:spcBef>
                <a:spcPts val="600"/>
              </a:spcBef>
            </a:pPr>
            <a:r>
              <a:rPr lang="en-US" sz="1200"/>
              <a:t>The street closure had a measurable positive impact to nearby businesses. This impact was driven by increases in local restaurants and apparel stores, as resident traffic to the area grew. This analysis helped provide the government body with the evidence required to keep implementing street closures going forward.</a:t>
            </a:r>
          </a:p>
        </p:txBody>
      </p:sp>
    </p:spTree>
    <p:extLst>
      <p:ext uri="{BB962C8B-B14F-4D97-AF65-F5344CB8AC3E}">
        <p14:creationId xmlns:p14="http://schemas.microsoft.com/office/powerpoint/2010/main" val="37646561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3A02DF5-CA8D-62C9-4DD6-B674AAC09A6E}"/>
              </a:ext>
            </a:extLst>
          </p:cNvPr>
          <p:cNvSpPr>
            <a:spLocks noGrp="1"/>
          </p:cNvSpPr>
          <p:nvPr>
            <p:ph type="body" idx="1"/>
          </p:nvPr>
        </p:nvSpPr>
        <p:spPr>
          <a:xfrm>
            <a:off x="157492" y="192024"/>
            <a:ext cx="8419956" cy="4125806"/>
          </a:xfrm>
        </p:spPr>
        <p:txBody>
          <a:bodyPr/>
          <a:lstStyle/>
          <a:p>
            <a:pPr marL="0" indent="0">
              <a:buNone/>
            </a:pPr>
            <a:r>
              <a:rPr lang="en-GB" sz="1050" u="sng" dirty="0">
                <a:solidFill>
                  <a:srgbClr val="171717"/>
                </a:solidFill>
              </a:rPr>
              <a:t>Impact Evaluator:</a:t>
            </a:r>
            <a:r>
              <a:rPr lang="en-GB" sz="1050" dirty="0">
                <a:solidFill>
                  <a:srgbClr val="171717"/>
                </a:solidFill>
              </a:rPr>
              <a:t>  Unlocks the ability to understand the true impact of community-centric initiatives and to </a:t>
            </a:r>
            <a:r>
              <a:rPr lang="en-US" sz="1050" dirty="0">
                <a:solidFill>
                  <a:srgbClr val="171717"/>
                </a:solidFill>
              </a:rPr>
              <a:t>measure the efficacy of related investment over time.  Applicable in a range of scenarios, including public health, housing, education, small business, public safety, disaster preparedness/recovery, and many more.</a:t>
            </a:r>
          </a:p>
          <a:p>
            <a:endParaRPr lang="en-US" dirty="0"/>
          </a:p>
        </p:txBody>
      </p:sp>
      <p:sp>
        <p:nvSpPr>
          <p:cNvPr id="4" name="Footer Placeholder 3">
            <a:extLst>
              <a:ext uri="{FF2B5EF4-FFF2-40B4-BE49-F238E27FC236}">
                <a16:creationId xmlns:a16="http://schemas.microsoft.com/office/drawing/2014/main" id="{86C9A8CA-B7E7-8B2A-27DC-CDDD650BB55A}"/>
              </a:ext>
            </a:extLst>
          </p:cNvPr>
          <p:cNvSpPr>
            <a:spLocks noGrp="1"/>
          </p:cNvSpPr>
          <p:nvPr>
            <p:ph type="ftr" sz="quarter" idx="5"/>
          </p:nvPr>
        </p:nvSpPr>
        <p:spPr/>
        <p:txBody>
          <a:bodyPr/>
          <a:lstStyle/>
          <a:p>
            <a:endParaRPr lang="en-US"/>
          </a:p>
        </p:txBody>
      </p:sp>
      <p:sp>
        <p:nvSpPr>
          <p:cNvPr id="5" name="Date Placeholder 4">
            <a:extLst>
              <a:ext uri="{FF2B5EF4-FFF2-40B4-BE49-F238E27FC236}">
                <a16:creationId xmlns:a16="http://schemas.microsoft.com/office/drawing/2014/main" id="{707951C3-D31E-8F25-F12D-AF844F7BE12C}"/>
              </a:ext>
            </a:extLst>
          </p:cNvPr>
          <p:cNvSpPr>
            <a:spLocks noGrp="1"/>
          </p:cNvSpPr>
          <p:nvPr>
            <p:ph type="dt" sz="half" idx="6"/>
          </p:nvPr>
        </p:nvSpPr>
        <p:spPr/>
        <p:txBody>
          <a:bodyPr/>
          <a:lstStyle/>
          <a:p>
            <a:fld id="{BE5E7EFD-8159-44BE-9431-5D92072449CC}" type="datetime1">
              <a:rPr lang="en-US" smtClean="0"/>
              <a:t>5/21/2024</a:t>
            </a:fld>
            <a:endParaRPr lang="en-US"/>
          </a:p>
        </p:txBody>
      </p:sp>
      <p:sp>
        <p:nvSpPr>
          <p:cNvPr id="6" name="Slide Number Placeholder 5">
            <a:extLst>
              <a:ext uri="{FF2B5EF4-FFF2-40B4-BE49-F238E27FC236}">
                <a16:creationId xmlns:a16="http://schemas.microsoft.com/office/drawing/2014/main" id="{2364E425-0CCA-6C92-0ABB-02E9D297DC7A}"/>
              </a:ext>
            </a:extLst>
          </p:cNvPr>
          <p:cNvSpPr>
            <a:spLocks noGrp="1"/>
          </p:cNvSpPr>
          <p:nvPr>
            <p:ph type="sldNum" sz="quarter" idx="7"/>
          </p:nvPr>
        </p:nvSpPr>
        <p:spPr/>
        <p:txBody>
          <a:bodyPr/>
          <a:lstStyle/>
          <a:p>
            <a:fld id="{B6F15528-21DE-4FAA-801E-634DDDAF4B2B}" type="slidenum">
              <a:rPr lang="en-US" smtClean="0"/>
              <a:t>2</a:t>
            </a:fld>
            <a:endParaRPr lang="en-US"/>
          </a:p>
        </p:txBody>
      </p:sp>
    </p:spTree>
    <p:extLst>
      <p:ext uri="{BB962C8B-B14F-4D97-AF65-F5344CB8AC3E}">
        <p14:creationId xmlns:p14="http://schemas.microsoft.com/office/powerpoint/2010/main" val="2148353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TZqy8qMDMHPu71ZqBIvrQ"/>
</p:tagLst>
</file>

<file path=ppt/theme/theme1.xml><?xml version="1.0" encoding="utf-8"?>
<a:theme xmlns:a="http://schemas.openxmlformats.org/drawingml/2006/main" name="mc_template_20190705">
  <a:themeElements>
    <a:clrScheme name="Mastercard 2016 Aug 19">
      <a:dk1>
        <a:srgbClr val="171717"/>
      </a:dk1>
      <a:lt1>
        <a:srgbClr val="F7F7F7"/>
      </a:lt1>
      <a:dk2>
        <a:srgbClr val="171717"/>
      </a:dk2>
      <a:lt2>
        <a:srgbClr val="D22A2F"/>
      </a:lt2>
      <a:accent1>
        <a:srgbClr val="FF671B"/>
      </a:accent1>
      <a:accent2>
        <a:srgbClr val="F38B00"/>
      </a:accent2>
      <a:accent3>
        <a:srgbClr val="FFC81F"/>
      </a:accent3>
      <a:accent4>
        <a:srgbClr val="8DB92E"/>
      </a:accent4>
      <a:accent5>
        <a:srgbClr val="4FCDB0"/>
      </a:accent5>
      <a:accent6>
        <a:srgbClr val="E8E8E8"/>
      </a:accent6>
      <a:hlink>
        <a:srgbClr val="0563C1"/>
      </a:hlink>
      <a:folHlink>
        <a:srgbClr val="E8E8E8"/>
      </a:folHlink>
    </a:clrScheme>
    <a:fontScheme name="Mastercard 2016 Mark Offc Sept12">
      <a:majorFont>
        <a:latin typeface="Mark Offc For MC Light"/>
        <a:ea typeface=""/>
        <a:cs typeface=""/>
      </a:majorFont>
      <a:minorFont>
        <a:latin typeface="MarkForMC Nrw 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a:noFill/>
        </a:ln>
      </a:spPr>
      <a:bodyPr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rtlCol="0">
        <a:spAutoFit/>
      </a:bodyPr>
      <a:lstStyle>
        <a:defPPr>
          <a:lnSpc>
            <a:spcPct val="90000"/>
          </a:lnSpc>
          <a:spcBef>
            <a:spcPts val="600"/>
          </a:spcBef>
          <a:defRPr sz="1400" dirty="0" smtClean="0"/>
        </a:defPPr>
      </a:lstStyle>
    </a:txDef>
  </a:objectDefaults>
  <a:extraClrSchemeLst/>
  <a:extLst>
    <a:ext uri="{05A4C25C-085E-4340-85A3-A5531E510DB2}">
      <thm15:themeFamily xmlns:thm15="http://schemas.microsoft.com/office/thememl/2012/main" name="mc_template_8ST.potx" id="{5405C9FA-591B-423D-9861-604982ED4834}" vid="{BE2D1D4B-5B21-44CB-8F77-9C461D51DBB5}"/>
    </a:ext>
  </a:extLst>
</a:theme>
</file>

<file path=ppt/theme/theme2.xml><?xml version="1.0" encoding="utf-8"?>
<a:theme xmlns:a="http://schemas.openxmlformats.org/drawingml/2006/main" name="Office Theme">
  <a:themeElements>
    <a:clrScheme name="Mastercard 2016 Aug 19">
      <a:dk1>
        <a:srgbClr val="171717"/>
      </a:dk1>
      <a:lt1>
        <a:srgbClr val="F7F7F7"/>
      </a:lt1>
      <a:dk2>
        <a:srgbClr val="171717"/>
      </a:dk2>
      <a:lt2>
        <a:srgbClr val="D22A2F"/>
      </a:lt2>
      <a:accent1>
        <a:srgbClr val="FF671B"/>
      </a:accent1>
      <a:accent2>
        <a:srgbClr val="F38B00"/>
      </a:accent2>
      <a:accent3>
        <a:srgbClr val="FFC81F"/>
      </a:accent3>
      <a:accent4>
        <a:srgbClr val="8DB92E"/>
      </a:accent4>
      <a:accent5>
        <a:srgbClr val="4FCDB0"/>
      </a:accent5>
      <a:accent6>
        <a:srgbClr val="E8E8E8"/>
      </a:accent6>
      <a:hlink>
        <a:srgbClr val="0563C1"/>
      </a:hlink>
      <a:folHlink>
        <a:srgbClr val="E8E8E8"/>
      </a:folHlink>
    </a:clrScheme>
    <a:fontScheme name="Mastercard 2016 Mark Offc Sept10">
      <a:majorFont>
        <a:latin typeface="Mark Offc For MC Light"/>
        <a:ea typeface=""/>
        <a:cs typeface=""/>
      </a:majorFont>
      <a:minorFont>
        <a:latin typeface="MarkForMC Nrw PP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astercard 2016 Aug 19">
      <a:dk1>
        <a:srgbClr val="171717"/>
      </a:dk1>
      <a:lt1>
        <a:srgbClr val="F7F7F7"/>
      </a:lt1>
      <a:dk2>
        <a:srgbClr val="171717"/>
      </a:dk2>
      <a:lt2>
        <a:srgbClr val="D22A2F"/>
      </a:lt2>
      <a:accent1>
        <a:srgbClr val="FF671B"/>
      </a:accent1>
      <a:accent2>
        <a:srgbClr val="F38B00"/>
      </a:accent2>
      <a:accent3>
        <a:srgbClr val="FFC81F"/>
      </a:accent3>
      <a:accent4>
        <a:srgbClr val="8DB92E"/>
      </a:accent4>
      <a:accent5>
        <a:srgbClr val="4FCDB0"/>
      </a:accent5>
      <a:accent6>
        <a:srgbClr val="E8E8E8"/>
      </a:accent6>
      <a:hlink>
        <a:srgbClr val="0563C1"/>
      </a:hlink>
      <a:folHlink>
        <a:srgbClr val="E8E8E8"/>
      </a:folHlink>
    </a:clrScheme>
    <a:fontScheme name="Mastercard 2016 Mark Offc Sept10">
      <a:majorFont>
        <a:latin typeface="Mark Offc For MC Light"/>
        <a:ea typeface=""/>
        <a:cs typeface=""/>
      </a:majorFont>
      <a:minorFont>
        <a:latin typeface="MarkForMC Nrw PP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700" row="9">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8F2869AB-A7E6-49DA-B356-DAF3EDC1EE6B}">
  <we:reference id="ff1b65c4-be5a-40bc-9967-5937b8daad41" version="1.0.0.1" store="EXCatalog" storeType="EXCatalog"/>
  <we:alternateReferences/>
  <we:properties>
    <we:property name="Office.AutoShowTaskpaneWithDocument" value="true"/>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FBD04D22A6E3343BC402943192E7FB9" ma:contentTypeVersion="20" ma:contentTypeDescription="Create a new document." ma:contentTypeScope="" ma:versionID="2f16d0eb0d7d53224eb9f14aaaeb40ed">
  <xsd:schema xmlns:xsd="http://www.w3.org/2001/XMLSchema" xmlns:xs="http://www.w3.org/2001/XMLSchema" xmlns:p="http://schemas.microsoft.com/office/2006/metadata/properties" xmlns:ns1="http://schemas.microsoft.com/sharepoint/v3" xmlns:ns2="f20ffc91-4fdf-4f26-b21d-20f6a60efdc3" xmlns:ns3="c894f6eb-c010-4fd9-b81d-13fbd47125f2" targetNamespace="http://schemas.microsoft.com/office/2006/metadata/properties" ma:root="true" ma:fieldsID="f1532c7e04a371e69c2523bd181d63d1" ns1:_="" ns2:_="" ns3:_="">
    <xsd:import namespace="http://schemas.microsoft.com/sharepoint/v3"/>
    <xsd:import namespace="f20ffc91-4fdf-4f26-b21d-20f6a60efdc3"/>
    <xsd:import namespace="c894f6eb-c010-4fd9-b81d-13fbd47125f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1:_ip_UnifiedCompliancePolicyProperties" minOccurs="0"/>
                <xsd:element ref="ns1:_ip_UnifiedCompliancePolicyUIAc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20ffc91-4fdf-4f26-b21d-20f6a60efd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1b23fba-b63e-4ceb-bd72-a2adfa6ba79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894f6eb-c010-4fd9-b81d-13fbd47125f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532fa5b6-cf47-4f9f-8b19-d6bf548f5520}" ma:internalName="TaxCatchAll" ma:showField="CatchAllData" ma:web="c894f6eb-c010-4fd9-b81d-13fbd47125f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c894f6eb-c010-4fd9-b81d-13fbd47125f2">
      <UserInfo>
        <DisplayName/>
        <AccountId xsi:nil="true"/>
        <AccountType/>
      </UserInfo>
    </SharedWithUsers>
    <_ip_UnifiedCompliancePolicyUIAction xmlns="http://schemas.microsoft.com/sharepoint/v3" xsi:nil="true"/>
    <lcf76f155ced4ddcb4097134ff3c332f xmlns="f20ffc91-4fdf-4f26-b21d-20f6a60efdc3">
      <Terms xmlns="http://schemas.microsoft.com/office/infopath/2007/PartnerControls"/>
    </lcf76f155ced4ddcb4097134ff3c332f>
    <TaxCatchAll xmlns="c894f6eb-c010-4fd9-b81d-13fbd47125f2" xsi:nil="true"/>
    <_ip_UnifiedCompliancePolicyProperties xmlns="http://schemas.microsoft.com/sharepoint/v3" xsi:nil="true"/>
    <MediaLengthInSeconds xmlns="f20ffc91-4fdf-4f26-b21d-20f6a60efdc3" xsi:nil="true"/>
  </documentManagement>
</p:properties>
</file>

<file path=customXml/itemProps1.xml><?xml version="1.0" encoding="utf-8"?>
<ds:datastoreItem xmlns:ds="http://schemas.openxmlformats.org/officeDocument/2006/customXml" ds:itemID="{6E9028DB-6D9E-46DA-8A22-11BCA1B16372}"/>
</file>

<file path=customXml/itemProps2.xml><?xml version="1.0" encoding="utf-8"?>
<ds:datastoreItem xmlns:ds="http://schemas.openxmlformats.org/officeDocument/2006/customXml" ds:itemID="{AB0F3334-5645-4E43-A809-7276C6D71DC4}">
  <ds:schemaRefs>
    <ds:schemaRef ds:uri="http://schemas.microsoft.com/sharepoint/v3/contenttype/forms"/>
  </ds:schemaRefs>
</ds:datastoreItem>
</file>

<file path=customXml/itemProps3.xml><?xml version="1.0" encoding="utf-8"?>
<ds:datastoreItem xmlns:ds="http://schemas.openxmlformats.org/officeDocument/2006/customXml" ds:itemID="{03987B1B-9FA4-443E-977B-ADB9ACF8C5F2}">
  <ds:schemaRefs>
    <ds:schemaRef ds:uri="http://www.w3.org/XML/1998/namespace"/>
    <ds:schemaRef ds:uri="http://schemas.microsoft.com/sharepoint/v3"/>
    <ds:schemaRef ds:uri="http://purl.org/dc/terms/"/>
    <ds:schemaRef ds:uri="http://purl.org/dc/dcmitype/"/>
    <ds:schemaRef ds:uri="http://purl.org/dc/elements/1.1/"/>
    <ds:schemaRef ds:uri="5fdfb485-869b-4cde-8fef-7ebe5a90805d"/>
    <ds:schemaRef ds:uri="http://schemas.microsoft.com/office/2006/metadata/properties"/>
    <ds:schemaRef ds:uri="http://schemas.microsoft.com/office/2006/documentManagement/types"/>
    <ds:schemaRef ds:uri="http://schemas.openxmlformats.org/package/2006/metadata/core-properties"/>
    <ds:schemaRef ds:uri="1e883d88-00e2-4d5f-9eeb-88ccaa9c6752"/>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mc_template_8ST</Template>
  <TotalTime>17</TotalTime>
  <Words>206</Words>
  <Application>Microsoft Office PowerPoint</Application>
  <PresentationFormat>On-screen Show (16:9)</PresentationFormat>
  <Paragraphs>13</Paragraphs>
  <Slides>2</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Arial</vt:lpstr>
      <vt:lpstr>Mark Offc For MC</vt:lpstr>
      <vt:lpstr>Mark Offc For MC Extra Light</vt:lpstr>
      <vt:lpstr>Mark Offc For MC Light</vt:lpstr>
      <vt:lpstr>Mark Offc For MC Medium</vt:lpstr>
      <vt:lpstr>MarkForMC Nrw O</vt:lpstr>
      <vt:lpstr>mc_template_20190705</vt:lpstr>
      <vt:lpstr>think-cell Slide</vt:lpstr>
      <vt:lpstr>PowerPoint Presentation</vt:lpstr>
      <vt:lpstr>PowerPoint Presentation</vt:lpstr>
    </vt:vector>
  </TitlesOfParts>
  <Company>masterc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illian Gibney</dc:creator>
  <cp:lastModifiedBy>Jennifer Larsen</cp:lastModifiedBy>
  <cp:revision>3</cp:revision>
  <dcterms:created xsi:type="dcterms:W3CDTF">2024-02-15T17:43:31Z</dcterms:created>
  <dcterms:modified xsi:type="dcterms:W3CDTF">2024-05-21T22:1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c_template_date">
    <vt:lpwstr>20191108</vt:lpwstr>
  </property>
  <property fmtid="{D5CDD505-2E9C-101B-9397-08002B2CF9AE}" pid="3" name="MSIP_Label_df2f77bf-ac71-4d31-be38-cc6a5f811e56_Enabled">
    <vt:lpwstr>true</vt:lpwstr>
  </property>
  <property fmtid="{D5CDD505-2E9C-101B-9397-08002B2CF9AE}" pid="4" name="MSIP_Label_df2f77bf-ac71-4d31-be38-cc6a5f811e56_SetDate">
    <vt:lpwstr>2024-02-15T22:02:01Z</vt:lpwstr>
  </property>
  <property fmtid="{D5CDD505-2E9C-101B-9397-08002B2CF9AE}" pid="5" name="MSIP_Label_df2f77bf-ac71-4d31-be38-cc6a5f811e56_Method">
    <vt:lpwstr>Privileged</vt:lpwstr>
  </property>
  <property fmtid="{D5CDD505-2E9C-101B-9397-08002B2CF9AE}" pid="6" name="MSIP_Label_df2f77bf-ac71-4d31-be38-cc6a5f811e56_Name">
    <vt:lpwstr>Restricted</vt:lpwstr>
  </property>
  <property fmtid="{D5CDD505-2E9C-101B-9397-08002B2CF9AE}" pid="7" name="MSIP_Label_df2f77bf-ac71-4d31-be38-cc6a5f811e56_SiteId">
    <vt:lpwstr>f06fa858-824b-4a85-aacb-f372cfdc282e</vt:lpwstr>
  </property>
  <property fmtid="{D5CDD505-2E9C-101B-9397-08002B2CF9AE}" pid="8" name="MSIP_Label_df2f77bf-ac71-4d31-be38-cc6a5f811e56_ActionId">
    <vt:lpwstr>7a80a978-802f-4b6f-9bb0-255d0c5a84f0</vt:lpwstr>
  </property>
  <property fmtid="{D5CDD505-2E9C-101B-9397-08002B2CF9AE}" pid="9" name="MSIP_Label_df2f77bf-ac71-4d31-be38-cc6a5f811e56_ContentBits">
    <vt:lpwstr>0</vt:lpwstr>
  </property>
  <property fmtid="{D5CDD505-2E9C-101B-9397-08002B2CF9AE}" pid="10" name="ContentTypeId">
    <vt:lpwstr>0x0101006FBD04D22A6E3343BC402943192E7FB9</vt:lpwstr>
  </property>
  <property fmtid="{D5CDD505-2E9C-101B-9397-08002B2CF9AE}" pid="11" name="MediaServiceImageTags">
    <vt:lpwstr/>
  </property>
  <property fmtid="{D5CDD505-2E9C-101B-9397-08002B2CF9AE}" pid="12" name="Order">
    <vt:r8>3300</vt:r8>
  </property>
  <property fmtid="{D5CDD505-2E9C-101B-9397-08002B2CF9AE}" pid="13" name="xd_Signature">
    <vt:bool>false</vt:bool>
  </property>
  <property fmtid="{D5CDD505-2E9C-101B-9397-08002B2CF9AE}" pid="14" name="xd_ProgID">
    <vt:lpwstr/>
  </property>
  <property fmtid="{D5CDD505-2E9C-101B-9397-08002B2CF9AE}" pid="15" name="_SourceUrl">
    <vt:lpwstr/>
  </property>
  <property fmtid="{D5CDD505-2E9C-101B-9397-08002B2CF9AE}" pid="16" name="_SharedFileIndex">
    <vt:lpwstr/>
  </property>
  <property fmtid="{D5CDD505-2E9C-101B-9397-08002B2CF9AE}" pid="17" name="ComplianceAssetId">
    <vt:lpwstr/>
  </property>
  <property fmtid="{D5CDD505-2E9C-101B-9397-08002B2CF9AE}" pid="18" name="TemplateUrl">
    <vt:lpwstr/>
  </property>
  <property fmtid="{D5CDD505-2E9C-101B-9397-08002B2CF9AE}" pid="19" name="_ExtendedDescription">
    <vt:lpwstr/>
  </property>
  <property fmtid="{D5CDD505-2E9C-101B-9397-08002B2CF9AE}" pid="20" name="TriggerFlowInfo">
    <vt:lpwstr/>
  </property>
</Properties>
</file>